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43"/>
  </p:notesMasterIdLst>
  <p:sldIdLst>
    <p:sldId id="2146845380" r:id="rId6"/>
    <p:sldId id="2146845452" r:id="rId7"/>
    <p:sldId id="2146845442" r:id="rId8"/>
    <p:sldId id="2146845449" r:id="rId9"/>
    <p:sldId id="2146845453" r:id="rId10"/>
    <p:sldId id="2146845483" r:id="rId11"/>
    <p:sldId id="2146845411" r:id="rId12"/>
    <p:sldId id="2146845472" r:id="rId13"/>
    <p:sldId id="2146845473" r:id="rId14"/>
    <p:sldId id="2146845455" r:id="rId15"/>
    <p:sldId id="2146845356" r:id="rId16"/>
    <p:sldId id="2146845460" r:id="rId17"/>
    <p:sldId id="2146845461" r:id="rId18"/>
    <p:sldId id="2146845446" r:id="rId19"/>
    <p:sldId id="2146845484" r:id="rId20"/>
    <p:sldId id="2146845445" r:id="rId21"/>
    <p:sldId id="2146845485" r:id="rId22"/>
    <p:sldId id="2146845413" r:id="rId23"/>
    <p:sldId id="2146845420" r:id="rId24"/>
    <p:sldId id="2146845391" r:id="rId25"/>
    <p:sldId id="2146845447" r:id="rId26"/>
    <p:sldId id="2146845489" r:id="rId27"/>
    <p:sldId id="2146845444" r:id="rId28"/>
    <p:sldId id="2146845490" r:id="rId29"/>
    <p:sldId id="2146845491" r:id="rId30"/>
    <p:sldId id="2146845427" r:id="rId31"/>
    <p:sldId id="2146845486" r:id="rId32"/>
    <p:sldId id="2146845425" r:id="rId33"/>
    <p:sldId id="2146845423" r:id="rId34"/>
    <p:sldId id="2146845424" r:id="rId35"/>
    <p:sldId id="2146845426" r:id="rId36"/>
    <p:sldId id="2146845487" r:id="rId37"/>
    <p:sldId id="2146845488" r:id="rId38"/>
    <p:sldId id="2146845416" r:id="rId39"/>
    <p:sldId id="2146845421" r:id="rId40"/>
    <p:sldId id="2146845415" r:id="rId41"/>
    <p:sldId id="2146845422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F6B64-44C2-6B91-6EA3-5BCFF101636B}" v="23" dt="2021-05-11T17:12:37.031"/>
    <p1510:client id="{6C4CB549-2118-47FC-B01C-910C2D628F66}" vWet="4" dt="2021-05-11T17:12:15.067"/>
    <p1510:client id="{AE07DBB4-1CAE-4286-8CDF-67621CAFA6E2}" v="20" dt="2021-05-11T15:31:36.9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AE07DBB4-1CAE-4286-8CDF-67621CAFA6E2}"/>
    <pc:docChg chg="custSel addSld delSld modSld">
      <pc:chgData name="Alexander Richwood" userId="6a746949-975a-4404-914f-fa4a61014c27" providerId="ADAL" clId="{AE07DBB4-1CAE-4286-8CDF-67621CAFA6E2}" dt="2021-05-11T15:32:47.052" v="519" actId="1076"/>
      <pc:docMkLst>
        <pc:docMk/>
      </pc:docMkLst>
      <pc:sldChg chg="add">
        <pc:chgData name="Alexander Richwood" userId="6a746949-975a-4404-914f-fa4a61014c27" providerId="ADAL" clId="{AE07DBB4-1CAE-4286-8CDF-67621CAFA6E2}" dt="2021-05-11T10:55:15.772" v="115"/>
        <pc:sldMkLst>
          <pc:docMk/>
          <pc:sldMk cId="1320485726" sldId="2146845356"/>
        </pc:sldMkLst>
      </pc:sldChg>
      <pc:sldChg chg="modSp add del mod">
        <pc:chgData name="Alexander Richwood" userId="6a746949-975a-4404-914f-fa4a61014c27" providerId="ADAL" clId="{AE07DBB4-1CAE-4286-8CDF-67621CAFA6E2}" dt="2021-05-11T10:48:36.813" v="38" actId="20577"/>
        <pc:sldMkLst>
          <pc:docMk/>
          <pc:sldMk cId="636563377" sldId="2146845380"/>
        </pc:sldMkLst>
        <pc:spChg chg="mod">
          <ac:chgData name="Alexander Richwood" userId="6a746949-975a-4404-914f-fa4a61014c27" providerId="ADAL" clId="{AE07DBB4-1CAE-4286-8CDF-67621CAFA6E2}" dt="2021-05-11T10:48:36.813" v="38" actId="20577"/>
          <ac:spMkLst>
            <pc:docMk/>
            <pc:sldMk cId="636563377" sldId="2146845380"/>
            <ac:spMk id="13" creationId="{2469A092-A161-4D41-88A5-0ACDFCE29DF5}"/>
          </ac:spMkLst>
        </pc:spChg>
      </pc:sldChg>
      <pc:sldChg chg="add">
        <pc:chgData name="Alexander Richwood" userId="6a746949-975a-4404-914f-fa4a61014c27" providerId="ADAL" clId="{AE07DBB4-1CAE-4286-8CDF-67621CAFA6E2}" dt="2021-05-11T15:20:13.810" v="248"/>
        <pc:sldMkLst>
          <pc:docMk/>
          <pc:sldMk cId="1495903228" sldId="2146845391"/>
        </pc:sldMkLst>
      </pc:sldChg>
      <pc:sldChg chg="add">
        <pc:chgData name="Alexander Richwood" userId="6a746949-975a-4404-914f-fa4a61014c27" providerId="ADAL" clId="{AE07DBB4-1CAE-4286-8CDF-67621CAFA6E2}" dt="2021-05-11T10:53:35.568" v="97"/>
        <pc:sldMkLst>
          <pc:docMk/>
          <pc:sldMk cId="1008592238" sldId="2146845411"/>
        </pc:sldMkLst>
      </pc:sldChg>
      <pc:sldChg chg="add">
        <pc:chgData name="Alexander Richwood" userId="6a746949-975a-4404-914f-fa4a61014c27" providerId="ADAL" clId="{AE07DBB4-1CAE-4286-8CDF-67621CAFA6E2}" dt="2021-05-11T11:03:19.779" v="237"/>
        <pc:sldMkLst>
          <pc:docMk/>
          <pc:sldMk cId="3086085695" sldId="2146845413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104220654" sldId="2146845415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1828021545" sldId="2146845416"/>
        </pc:sldMkLst>
      </pc:sldChg>
      <pc:sldChg chg="add">
        <pc:chgData name="Alexander Richwood" userId="6a746949-975a-4404-914f-fa4a61014c27" providerId="ADAL" clId="{AE07DBB4-1CAE-4286-8CDF-67621CAFA6E2}" dt="2021-05-11T11:03:19.779" v="237"/>
        <pc:sldMkLst>
          <pc:docMk/>
          <pc:sldMk cId="2293514158" sldId="2146845420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3486872388" sldId="2146845421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1984552432" sldId="2146845422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3540434041" sldId="2146845423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2787282987" sldId="2146845424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673021876" sldId="2146845425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4052802021" sldId="2146845426"/>
        </pc:sldMkLst>
      </pc:sldChg>
      <pc:sldChg chg="modSp add mod">
        <pc:chgData name="Alexander Richwood" userId="6a746949-975a-4404-914f-fa4a61014c27" providerId="ADAL" clId="{AE07DBB4-1CAE-4286-8CDF-67621CAFA6E2}" dt="2021-05-11T15:29:31.278" v="332" actId="2164"/>
        <pc:sldMkLst>
          <pc:docMk/>
          <pc:sldMk cId="3631056710" sldId="2146845427"/>
        </pc:sldMkLst>
        <pc:graphicFrameChg chg="modGraphic">
          <ac:chgData name="Alexander Richwood" userId="6a746949-975a-4404-914f-fa4a61014c27" providerId="ADAL" clId="{AE07DBB4-1CAE-4286-8CDF-67621CAFA6E2}" dt="2021-05-11T15:29:31.278" v="332" actId="2164"/>
          <ac:graphicFrameMkLst>
            <pc:docMk/>
            <pc:sldMk cId="3631056710" sldId="2146845427"/>
            <ac:graphicFrameMk id="4" creationId="{424B61DC-8D57-E341-AADF-DA29275A4EED}"/>
          </ac:graphicFrameMkLst>
        </pc:graphicFrameChg>
      </pc:sldChg>
      <pc:sldChg chg="modSp add mod">
        <pc:chgData name="Alexander Richwood" userId="6a746949-975a-4404-914f-fa4a61014c27" providerId="ADAL" clId="{AE07DBB4-1CAE-4286-8CDF-67621CAFA6E2}" dt="2021-05-11T15:32:16.501" v="518" actId="20577"/>
        <pc:sldMkLst>
          <pc:docMk/>
          <pc:sldMk cId="4080574388" sldId="2146845442"/>
        </pc:sldMkLst>
        <pc:spChg chg="mod">
          <ac:chgData name="Alexander Richwood" userId="6a746949-975a-4404-914f-fa4a61014c27" providerId="ADAL" clId="{AE07DBB4-1CAE-4286-8CDF-67621CAFA6E2}" dt="2021-05-11T10:52:54.927" v="96" actId="20577"/>
          <ac:spMkLst>
            <pc:docMk/>
            <pc:sldMk cId="4080574388" sldId="2146845442"/>
            <ac:spMk id="5" creationId="{4693AC09-26C6-AE45-BF69-A54CF0CE27C6}"/>
          </ac:spMkLst>
        </pc:spChg>
        <pc:graphicFrameChg chg="mod modGraphic">
          <ac:chgData name="Alexander Richwood" userId="6a746949-975a-4404-914f-fa4a61014c27" providerId="ADAL" clId="{AE07DBB4-1CAE-4286-8CDF-67621CAFA6E2}" dt="2021-05-11T15:32:16.501" v="518" actId="20577"/>
          <ac:graphicFrameMkLst>
            <pc:docMk/>
            <pc:sldMk cId="4080574388" sldId="2146845442"/>
            <ac:graphicFrameMk id="4" creationId="{5DA8D63F-9C7B-9049-A963-9B83E9891FBA}"/>
          </ac:graphicFrameMkLst>
        </pc:graphicFrameChg>
      </pc:sldChg>
      <pc:sldChg chg="add">
        <pc:chgData name="Alexander Richwood" userId="6a746949-975a-4404-914f-fa4a61014c27" providerId="ADAL" clId="{AE07DBB4-1CAE-4286-8CDF-67621CAFA6E2}" dt="2021-05-11T15:20:38.496" v="250"/>
        <pc:sldMkLst>
          <pc:docMk/>
          <pc:sldMk cId="3078701061" sldId="2146845444"/>
        </pc:sldMkLst>
      </pc:sldChg>
      <pc:sldChg chg="modSp add mod">
        <pc:chgData name="Alexander Richwood" userId="6a746949-975a-4404-914f-fa4a61014c27" providerId="ADAL" clId="{AE07DBB4-1CAE-4286-8CDF-67621CAFA6E2}" dt="2021-05-11T10:59:01.167" v="153" actId="20577"/>
        <pc:sldMkLst>
          <pc:docMk/>
          <pc:sldMk cId="823817614" sldId="2146845445"/>
        </pc:sldMkLst>
        <pc:spChg chg="mod">
          <ac:chgData name="Alexander Richwood" userId="6a746949-975a-4404-914f-fa4a61014c27" providerId="ADAL" clId="{AE07DBB4-1CAE-4286-8CDF-67621CAFA6E2}" dt="2021-05-11T10:59:01.167" v="153" actId="20577"/>
          <ac:spMkLst>
            <pc:docMk/>
            <pc:sldMk cId="823817614" sldId="2146845445"/>
            <ac:spMk id="6" creationId="{99B84020-79A9-4C48-9FEC-E870B6547AF7}"/>
          </ac:spMkLst>
        </pc:spChg>
      </pc:sldChg>
      <pc:sldChg chg="addSp modSp add mod">
        <pc:chgData name="Alexander Richwood" userId="6a746949-975a-4404-914f-fa4a61014c27" providerId="ADAL" clId="{AE07DBB4-1CAE-4286-8CDF-67621CAFA6E2}" dt="2021-05-11T10:57:12.905" v="150" actId="1076"/>
        <pc:sldMkLst>
          <pc:docMk/>
          <pc:sldMk cId="2575363428" sldId="2146845446"/>
        </pc:sldMkLst>
        <pc:spChg chg="add mod">
          <ac:chgData name="Alexander Richwood" userId="6a746949-975a-4404-914f-fa4a61014c27" providerId="ADAL" clId="{AE07DBB4-1CAE-4286-8CDF-67621CAFA6E2}" dt="2021-05-11T10:57:12.905" v="150" actId="1076"/>
          <ac:spMkLst>
            <pc:docMk/>
            <pc:sldMk cId="2575363428" sldId="2146845446"/>
            <ac:spMk id="5" creationId="{5239922D-03E1-4491-8FD2-699D45D52092}"/>
          </ac:spMkLst>
        </pc:spChg>
        <pc:spChg chg="mod">
          <ac:chgData name="Alexander Richwood" userId="6a746949-975a-4404-914f-fa4a61014c27" providerId="ADAL" clId="{AE07DBB4-1CAE-4286-8CDF-67621CAFA6E2}" dt="2021-05-11T10:56:06.183" v="142" actId="1035"/>
          <ac:spMkLst>
            <pc:docMk/>
            <pc:sldMk cId="2575363428" sldId="2146845446"/>
            <ac:spMk id="7" creationId="{FEBA2B4D-3817-41A8-96E8-80F1598ABB1F}"/>
          </ac:spMkLst>
        </pc:spChg>
        <pc:spChg chg="mod">
          <ac:chgData name="Alexander Richwood" userId="6a746949-975a-4404-914f-fa4a61014c27" providerId="ADAL" clId="{AE07DBB4-1CAE-4286-8CDF-67621CAFA6E2}" dt="2021-05-11T10:56:06.183" v="142" actId="1035"/>
          <ac:spMkLst>
            <pc:docMk/>
            <pc:sldMk cId="2575363428" sldId="2146845446"/>
            <ac:spMk id="8" creationId="{94266900-2226-4BC8-9713-4ED723EA02CE}"/>
          </ac:spMkLst>
        </pc:spChg>
      </pc:sldChg>
      <pc:sldChg chg="add">
        <pc:chgData name="Alexander Richwood" userId="6a746949-975a-4404-914f-fa4a61014c27" providerId="ADAL" clId="{AE07DBB4-1CAE-4286-8CDF-67621CAFA6E2}" dt="2021-05-11T15:20:22.014" v="249"/>
        <pc:sldMkLst>
          <pc:docMk/>
          <pc:sldMk cId="972638260" sldId="2146845447"/>
        </pc:sldMkLst>
      </pc:sldChg>
      <pc:sldChg chg="add">
        <pc:chgData name="Alexander Richwood" userId="6a746949-975a-4404-914f-fa4a61014c27" providerId="ADAL" clId="{AE07DBB4-1CAE-4286-8CDF-67621CAFA6E2}" dt="2021-05-11T10:49:55.097" v="40"/>
        <pc:sldMkLst>
          <pc:docMk/>
          <pc:sldMk cId="517944172" sldId="2146845449"/>
        </pc:sldMkLst>
      </pc:sldChg>
      <pc:sldChg chg="add">
        <pc:chgData name="Alexander Richwood" userId="6a746949-975a-4404-914f-fa4a61014c27" providerId="ADAL" clId="{AE07DBB4-1CAE-4286-8CDF-67621CAFA6E2}" dt="2021-05-11T10:49:23.260" v="39"/>
        <pc:sldMkLst>
          <pc:docMk/>
          <pc:sldMk cId="3330615201" sldId="2146845452"/>
        </pc:sldMkLst>
      </pc:sldChg>
      <pc:sldChg chg="add">
        <pc:chgData name="Alexander Richwood" userId="6a746949-975a-4404-914f-fa4a61014c27" providerId="ADAL" clId="{AE07DBB4-1CAE-4286-8CDF-67621CAFA6E2}" dt="2021-05-11T10:53:35.568" v="97"/>
        <pc:sldMkLst>
          <pc:docMk/>
          <pc:sldMk cId="3441163770" sldId="2146845453"/>
        </pc:sldMkLst>
      </pc:sldChg>
      <pc:sldChg chg="add">
        <pc:chgData name="Alexander Richwood" userId="6a746949-975a-4404-914f-fa4a61014c27" providerId="ADAL" clId="{AE07DBB4-1CAE-4286-8CDF-67621CAFA6E2}" dt="2021-05-11T10:53:35.568" v="97"/>
        <pc:sldMkLst>
          <pc:docMk/>
          <pc:sldMk cId="2509293474" sldId="2146845455"/>
        </pc:sldMkLst>
      </pc:sldChg>
      <pc:sldChg chg="add">
        <pc:chgData name="Alexander Richwood" userId="6a746949-975a-4404-914f-fa4a61014c27" providerId="ADAL" clId="{AE07DBB4-1CAE-4286-8CDF-67621CAFA6E2}" dt="2021-05-11T10:55:15.772" v="115"/>
        <pc:sldMkLst>
          <pc:docMk/>
          <pc:sldMk cId="458778126" sldId="2146845460"/>
        </pc:sldMkLst>
      </pc:sldChg>
      <pc:sldChg chg="add">
        <pc:chgData name="Alexander Richwood" userId="6a746949-975a-4404-914f-fa4a61014c27" providerId="ADAL" clId="{AE07DBB4-1CAE-4286-8CDF-67621CAFA6E2}" dt="2021-05-11T10:55:15.772" v="115"/>
        <pc:sldMkLst>
          <pc:docMk/>
          <pc:sldMk cId="3435418820" sldId="2146845461"/>
        </pc:sldMkLst>
      </pc:sldChg>
      <pc:sldChg chg="add">
        <pc:chgData name="Alexander Richwood" userId="6a746949-975a-4404-914f-fa4a61014c27" providerId="ADAL" clId="{AE07DBB4-1CAE-4286-8CDF-67621CAFA6E2}" dt="2021-05-11T10:53:35.568" v="97"/>
        <pc:sldMkLst>
          <pc:docMk/>
          <pc:sldMk cId="3901396449" sldId="2146845472"/>
        </pc:sldMkLst>
      </pc:sldChg>
      <pc:sldChg chg="modSp add mod">
        <pc:chgData name="Alexander Richwood" userId="6a746949-975a-4404-914f-fa4a61014c27" providerId="ADAL" clId="{AE07DBB4-1CAE-4286-8CDF-67621CAFA6E2}" dt="2021-05-11T15:32:47.052" v="519" actId="1076"/>
        <pc:sldMkLst>
          <pc:docMk/>
          <pc:sldMk cId="2497064491" sldId="2146845473"/>
        </pc:sldMkLst>
        <pc:spChg chg="mod">
          <ac:chgData name="Alexander Richwood" userId="6a746949-975a-4404-914f-fa4a61014c27" providerId="ADAL" clId="{AE07DBB4-1CAE-4286-8CDF-67621CAFA6E2}" dt="2021-05-11T15:32:47.052" v="519" actId="1076"/>
          <ac:spMkLst>
            <pc:docMk/>
            <pc:sldMk cId="2497064491" sldId="2146845473"/>
            <ac:spMk id="6" creationId="{9CB9BA97-C8BB-416F-92B9-3B6ABE14B419}"/>
          </ac:spMkLst>
        </pc:spChg>
        <pc:cxnChg chg="mod">
          <ac:chgData name="Alexander Richwood" userId="6a746949-975a-4404-914f-fa4a61014c27" providerId="ADAL" clId="{AE07DBB4-1CAE-4286-8CDF-67621CAFA6E2}" dt="2021-05-11T15:32:47.052" v="519" actId="1076"/>
          <ac:cxnSpMkLst>
            <pc:docMk/>
            <pc:sldMk cId="2497064491" sldId="2146845473"/>
            <ac:cxnSpMk id="5" creationId="{E4AE20B3-C9DF-464A-811A-8E3F8E4A770A}"/>
          </ac:cxnSpMkLst>
        </pc:cxnChg>
      </pc:sldChg>
      <pc:sldChg chg="add">
        <pc:chgData name="Alexander Richwood" userId="6a746949-975a-4404-914f-fa4a61014c27" providerId="ADAL" clId="{AE07DBB4-1CAE-4286-8CDF-67621CAFA6E2}" dt="2021-05-11T10:53:35.568" v="97"/>
        <pc:sldMkLst>
          <pc:docMk/>
          <pc:sldMk cId="2959590063" sldId="2146845483"/>
        </pc:sldMkLst>
      </pc:sldChg>
      <pc:sldChg chg="modSp add mod modNotesTx">
        <pc:chgData name="Alexander Richwood" userId="6a746949-975a-4404-914f-fa4a61014c27" providerId="ADAL" clId="{AE07DBB4-1CAE-4286-8CDF-67621CAFA6E2}" dt="2021-05-11T11:00:29.188" v="203" actId="20577"/>
        <pc:sldMkLst>
          <pc:docMk/>
          <pc:sldMk cId="3549728862" sldId="2146845484"/>
        </pc:sldMkLst>
        <pc:spChg chg="mod">
          <ac:chgData name="Alexander Richwood" userId="6a746949-975a-4404-914f-fa4a61014c27" providerId="ADAL" clId="{AE07DBB4-1CAE-4286-8CDF-67621CAFA6E2}" dt="2021-05-11T10:58:55.114" v="152" actId="20577"/>
          <ac:spMkLst>
            <pc:docMk/>
            <pc:sldMk cId="3549728862" sldId="2146845484"/>
            <ac:spMk id="6" creationId="{99B84020-79A9-4C48-9FEC-E870B6547AF7}"/>
          </ac:spMkLst>
        </pc:spChg>
      </pc:sldChg>
      <pc:sldChg chg="modSp add mod">
        <pc:chgData name="Alexander Richwood" userId="6a746949-975a-4404-914f-fa4a61014c27" providerId="ADAL" clId="{AE07DBB4-1CAE-4286-8CDF-67621CAFA6E2}" dt="2021-05-11T11:02:00.568" v="236" actId="20577"/>
        <pc:sldMkLst>
          <pc:docMk/>
          <pc:sldMk cId="4002557374" sldId="2146845485"/>
        </pc:sldMkLst>
        <pc:spChg chg="mod">
          <ac:chgData name="Alexander Richwood" userId="6a746949-975a-4404-914f-fa4a61014c27" providerId="ADAL" clId="{AE07DBB4-1CAE-4286-8CDF-67621CAFA6E2}" dt="2021-05-11T11:02:00.568" v="236" actId="20577"/>
          <ac:spMkLst>
            <pc:docMk/>
            <pc:sldMk cId="4002557374" sldId="2146845485"/>
            <ac:spMk id="2" creationId="{62DFFE52-DA02-4725-8FD1-E84CDE76ABF2}"/>
          </ac:spMkLst>
        </pc:spChg>
      </pc:sldChg>
      <pc:sldChg chg="modSp add mod">
        <pc:chgData name="Alexander Richwood" userId="6a746949-975a-4404-914f-fa4a61014c27" providerId="ADAL" clId="{AE07DBB4-1CAE-4286-8CDF-67621CAFA6E2}" dt="2021-05-11T11:06:20.793" v="246" actId="20577"/>
        <pc:sldMkLst>
          <pc:docMk/>
          <pc:sldMk cId="241656158" sldId="2146845486"/>
        </pc:sldMkLst>
        <pc:spChg chg="mod">
          <ac:chgData name="Alexander Richwood" userId="6a746949-975a-4404-914f-fa4a61014c27" providerId="ADAL" clId="{AE07DBB4-1CAE-4286-8CDF-67621CAFA6E2}" dt="2021-05-11T11:06:20.793" v="246" actId="20577"/>
          <ac:spMkLst>
            <pc:docMk/>
            <pc:sldMk cId="241656158" sldId="2146845486"/>
            <ac:spMk id="2" creationId="{62DFFE52-DA02-4725-8FD1-E84CDE76ABF2}"/>
          </ac:spMkLst>
        </pc:spChg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357169387" sldId="2146845487"/>
        </pc:sldMkLst>
      </pc:sldChg>
      <pc:sldChg chg="add">
        <pc:chgData name="Alexander Richwood" userId="6a746949-975a-4404-914f-fa4a61014c27" providerId="ADAL" clId="{AE07DBB4-1CAE-4286-8CDF-67621CAFA6E2}" dt="2021-05-11T11:07:03.237" v="247"/>
        <pc:sldMkLst>
          <pc:docMk/>
          <pc:sldMk cId="3788245504" sldId="2146845488"/>
        </pc:sldMkLst>
      </pc:sldChg>
      <pc:sldChg chg="add">
        <pc:chgData name="Alexander Richwood" userId="6a746949-975a-4404-914f-fa4a61014c27" providerId="ADAL" clId="{AE07DBB4-1CAE-4286-8CDF-67621CAFA6E2}" dt="2021-05-11T15:20:38.496" v="250"/>
        <pc:sldMkLst>
          <pc:docMk/>
          <pc:sldMk cId="1559316264" sldId="2146845489"/>
        </pc:sldMkLst>
      </pc:sldChg>
      <pc:sldChg chg="add">
        <pc:chgData name="Alexander Richwood" userId="6a746949-975a-4404-914f-fa4a61014c27" providerId="ADAL" clId="{AE07DBB4-1CAE-4286-8CDF-67621CAFA6E2}" dt="2021-05-11T15:25:59.531" v="251"/>
        <pc:sldMkLst>
          <pc:docMk/>
          <pc:sldMk cId="2376886495" sldId="2146845490"/>
        </pc:sldMkLst>
      </pc:sldChg>
      <pc:sldChg chg="add">
        <pc:chgData name="Alexander Richwood" userId="6a746949-975a-4404-914f-fa4a61014c27" providerId="ADAL" clId="{AE07DBB4-1CAE-4286-8CDF-67621CAFA6E2}" dt="2021-05-11T15:25:59.531" v="251"/>
        <pc:sldMkLst>
          <pc:docMk/>
          <pc:sldMk cId="3874741012" sldId="2146845491"/>
        </pc:sldMkLst>
      </pc:sldChg>
    </pc:docChg>
  </pc:docChgLst>
  <pc:docChgLst>
    <pc:chgData name="Alexandre Raynaud" userId="S::alexandre.raynaud@veeva.com::62013f2f-fa8b-4728-ba61-7c17181a1d4e" providerId="AD" clId="Web-{04FF6B64-44C2-6B91-6EA3-5BCFF101636B}"/>
    <pc:docChg chg="modSld">
      <pc:chgData name="Alexandre Raynaud" userId="S::alexandre.raynaud@veeva.com::62013f2f-fa8b-4728-ba61-7c17181a1d4e" providerId="AD" clId="Web-{04FF6B64-44C2-6B91-6EA3-5BCFF101636B}" dt="2021-05-11T17:12:37.031" v="19" actId="1076"/>
      <pc:docMkLst>
        <pc:docMk/>
      </pc:docMkLst>
      <pc:sldChg chg="addSp delSp modSp delAnim">
        <pc:chgData name="Alexandre Raynaud" userId="S::alexandre.raynaud@veeva.com::62013f2f-fa8b-4728-ba61-7c17181a1d4e" providerId="AD" clId="Web-{04FF6B64-44C2-6B91-6EA3-5BCFF101636B}" dt="2021-05-11T17:12:37.031" v="19" actId="1076"/>
        <pc:sldMkLst>
          <pc:docMk/>
          <pc:sldMk cId="458778126" sldId="2146845460"/>
        </pc:sldMkLst>
        <pc:picChg chg="add mod">
          <ac:chgData name="Alexandre Raynaud" userId="S::alexandre.raynaud@veeva.com::62013f2f-fa8b-4728-ba61-7c17181a1d4e" providerId="AD" clId="Web-{04FF6B64-44C2-6B91-6EA3-5BCFF101636B}" dt="2021-05-11T17:12:20.906" v="18" actId="1076"/>
          <ac:picMkLst>
            <pc:docMk/>
            <pc:sldMk cId="458778126" sldId="2146845460"/>
            <ac:picMk id="6" creationId="{13EB0A6D-2BDF-4D6F-A450-30A23DDDCEF5}"/>
          </ac:picMkLst>
        </pc:picChg>
        <pc:picChg chg="add mod">
          <ac:chgData name="Alexandre Raynaud" userId="S::alexandre.raynaud@veeva.com::62013f2f-fa8b-4728-ba61-7c17181a1d4e" providerId="AD" clId="Web-{04FF6B64-44C2-6B91-6EA3-5BCFF101636B}" dt="2021-05-11T17:12:18.280" v="17" actId="1076"/>
          <ac:picMkLst>
            <pc:docMk/>
            <pc:sldMk cId="458778126" sldId="2146845460"/>
            <ac:picMk id="7" creationId="{130FE88C-CBB9-4236-A4F5-B21084465D2E}"/>
          </ac:picMkLst>
        </pc:picChg>
        <pc:picChg chg="add mod">
          <ac:chgData name="Alexandre Raynaud" userId="S::alexandre.raynaud@veeva.com::62013f2f-fa8b-4728-ba61-7c17181a1d4e" providerId="AD" clId="Web-{04FF6B64-44C2-6B91-6EA3-5BCFF101636B}" dt="2021-05-11T17:12:37.031" v="19" actId="1076"/>
          <ac:picMkLst>
            <pc:docMk/>
            <pc:sldMk cId="458778126" sldId="2146845460"/>
            <ac:picMk id="9" creationId="{FB98AF9D-2279-4D87-9F47-67EBC82A74E6}"/>
          </ac:picMkLst>
        </pc:picChg>
        <pc:picChg chg="del">
          <ac:chgData name="Alexandre Raynaud" userId="S::alexandre.raynaud@veeva.com::62013f2f-fa8b-4728-ba61-7c17181a1d4e" providerId="AD" clId="Web-{04FF6B64-44C2-6B91-6EA3-5BCFF101636B}" dt="2021-05-11T17:11:53.404" v="2"/>
          <ac:picMkLst>
            <pc:docMk/>
            <pc:sldMk cId="458778126" sldId="2146845460"/>
            <ac:picMk id="12" creationId="{D0EF9D72-D2CC-4A1A-95F4-0B551269BEFB}"/>
          </ac:picMkLst>
        </pc:picChg>
        <pc:picChg chg="del">
          <ac:chgData name="Alexandre Raynaud" userId="S::alexandre.raynaud@veeva.com::62013f2f-fa8b-4728-ba61-7c17181a1d4e" providerId="AD" clId="Web-{04FF6B64-44C2-6B91-6EA3-5BCFF101636B}" dt="2021-05-11T17:11:51.826" v="1"/>
          <ac:picMkLst>
            <pc:docMk/>
            <pc:sldMk cId="458778126" sldId="2146845460"/>
            <ac:picMk id="13" creationId="{AE1EB5DA-2A38-472B-8ADF-BFF40D839C8B}"/>
          </ac:picMkLst>
        </pc:picChg>
        <pc:picChg chg="del">
          <ac:chgData name="Alexandre Raynaud" userId="S::alexandre.raynaud@veeva.com::62013f2f-fa8b-4728-ba61-7c17181a1d4e" providerId="AD" clId="Web-{04FF6B64-44C2-6B91-6EA3-5BCFF101636B}" dt="2021-05-11T17:11:55.060" v="3"/>
          <ac:picMkLst>
            <pc:docMk/>
            <pc:sldMk cId="458778126" sldId="2146845460"/>
            <ac:picMk id="14" creationId="{88A6B8C1-865E-4658-8365-AD53D225C68E}"/>
          </ac:picMkLst>
        </pc:picChg>
        <pc:picChg chg="del">
          <ac:chgData name="Alexandre Raynaud" userId="S::alexandre.raynaud@veeva.com::62013f2f-fa8b-4728-ba61-7c17181a1d4e" providerId="AD" clId="Web-{04FF6B64-44C2-6B91-6EA3-5BCFF101636B}" dt="2021-05-11T17:11:51.826" v="0"/>
          <ac:picMkLst>
            <pc:docMk/>
            <pc:sldMk cId="458778126" sldId="2146845460"/>
            <ac:picMk id="15" creationId="{C076A990-2978-4A0F-AFF1-8E59289505C3}"/>
          </ac:picMkLst>
        </pc:picChg>
      </pc:sldChg>
      <pc:sldChg chg="addSp delSp">
        <pc:chgData name="Alexandre Raynaud" userId="S::alexandre.raynaud@veeva.com::62013f2f-fa8b-4728-ba61-7c17181a1d4e" providerId="AD" clId="Web-{04FF6B64-44C2-6B91-6EA3-5BCFF101636B}" dt="2021-05-11T17:12:02.279" v="9"/>
        <pc:sldMkLst>
          <pc:docMk/>
          <pc:sldMk cId="3901396449" sldId="2146845472"/>
        </pc:sldMkLst>
        <pc:picChg chg="add del">
          <ac:chgData name="Alexandre Raynaud" userId="S::alexandre.raynaud@veeva.com::62013f2f-fa8b-4728-ba61-7c17181a1d4e" providerId="AD" clId="Web-{04FF6B64-44C2-6B91-6EA3-5BCFF101636B}" dt="2021-05-11T17:12:02.279" v="9"/>
          <ac:picMkLst>
            <pc:docMk/>
            <pc:sldMk cId="3901396449" sldId="2146845472"/>
            <ac:picMk id="38" creationId="{7B54684B-712B-4186-A3D8-3BEC70051A48}"/>
          </ac:picMkLst>
        </pc:picChg>
        <pc:picChg chg="add del">
          <ac:chgData name="Alexandre Raynaud" userId="S::alexandre.raynaud@veeva.com::62013f2f-fa8b-4728-ba61-7c17181a1d4e" providerId="AD" clId="Web-{04FF6B64-44C2-6B91-6EA3-5BCFF101636B}" dt="2021-05-11T17:12:02.279" v="8"/>
          <ac:picMkLst>
            <pc:docMk/>
            <pc:sldMk cId="3901396449" sldId="2146845472"/>
            <ac:picMk id="40" creationId="{1902442B-0A8E-4289-BCD3-8C3F19E32CA7}"/>
          </ac:picMkLst>
        </pc:picChg>
        <pc:picChg chg="add del">
          <ac:chgData name="Alexandre Raynaud" userId="S::alexandre.raynaud@veeva.com::62013f2f-fa8b-4728-ba61-7c17181a1d4e" providerId="AD" clId="Web-{04FF6B64-44C2-6B91-6EA3-5BCFF101636B}" dt="2021-05-11T17:12:02.279" v="7"/>
          <ac:picMkLst>
            <pc:docMk/>
            <pc:sldMk cId="3901396449" sldId="2146845472"/>
            <ac:picMk id="44" creationId="{CE936ECC-6252-4A32-999B-A9A554B4D1B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F0661F-52EB-4C3E-9AE0-02BFCF96555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EBD072-EB85-4460-8DF0-7AF60A50F3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22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548235"/>
                </a:solidFill>
                <a:effectLst/>
                <a:latin typeface="Arial" panose="020B0604020202020204" pitchFamily="34" charset="0"/>
              </a:rPr>
              <a:t>World IBD Day (19.05.2021) - UC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548235"/>
                </a:solidFill>
                <a:effectLst/>
                <a:latin typeface="Arial" panose="020B0604020202020204" pitchFamily="34" charset="0"/>
              </a:rPr>
              <a:t>DDW (21.-23.05.2021) - UC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EULAR (02.-05.06.2021) - RA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548235"/>
                </a:solidFill>
                <a:effectLst/>
                <a:latin typeface="Arial" panose="020B0604020202020204" pitchFamily="34" charset="0"/>
              </a:rPr>
              <a:t>Ecco (07.-10.07.2021) - UC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548235"/>
                </a:solidFill>
                <a:effectLst/>
                <a:latin typeface="Arial" panose="020B0604020202020204" pitchFamily="34" charset="0"/>
              </a:rPr>
              <a:t>DGVS (13.-18.09.2021) - UC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 err="1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DGRh</a:t>
            </a:r>
            <a:r>
              <a:rPr lang="en-US" b="0" i="0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 (15.-18.09.2021) - RA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 err="1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JAKademie</a:t>
            </a:r>
            <a:r>
              <a:rPr lang="en-US" b="0" i="0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 (01.-02.10.2021) - RA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548235"/>
                </a:solidFill>
                <a:effectLst/>
                <a:latin typeface="Arial" panose="020B0604020202020204" pitchFamily="34" charset="0"/>
              </a:rPr>
              <a:t>UEGW (03.-08.2021) - UC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en-US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•            </a:t>
            </a:r>
            <a:r>
              <a:rPr lang="en-US" b="0" i="0">
                <a:solidFill>
                  <a:srgbClr val="2E75B6"/>
                </a:solidFill>
                <a:effectLst/>
                <a:latin typeface="Arial" panose="020B0604020202020204" pitchFamily="34" charset="0"/>
              </a:rPr>
              <a:t>ACR (05.-09.11.2021) - RA</a:t>
            </a:r>
            <a:endParaRPr lang="en-US" b="0" i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EBD072-EB85-4460-8DF0-7AF60A50F3F6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747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55365-22A8-4F37-AB1F-77BE940C40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BEB174-F0A9-44CA-BEB3-FDBA9BEFA6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B02EC-D5B7-4B9F-A9AB-354A5E74E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A3B8C3-53A0-4D30-9215-0F786AFEE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77E4D6-8485-4F32-A42B-909DC1360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9929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FAE92-9B77-44EE-9A1F-0F254E0A4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B7DCCC-97C6-483C-B173-E30B2CE44F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5C23FA-6292-4323-9D96-4E0BA9B9A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5744D1-F031-4984-A029-AC96DDC27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1A8FF-0432-408B-A4B0-518F302C8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316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20E27D-BD00-4F3D-9255-8DFC19FD9C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8C628C-A44C-4454-8635-380E273FDA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FC8047-A834-4C37-A5B3-1F9B4611A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64015-65E4-4A0E-91DF-29BE8C39D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E5DBE0-8FFF-4A40-B1A2-801FF46F3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39546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31422"/>
      </p:ext>
    </p:extLst>
  </p:cSld>
  <p:clrMapOvr>
    <a:masterClrMapping/>
  </p:clrMapOvr>
  <p:transition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52378429"/>
      </p:ext>
    </p:extLst>
  </p:cSld>
  <p:clrMapOvr>
    <a:masterClrMapping/>
  </p:clrMapOvr>
  <p:transition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970902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2169383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213730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429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320480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77463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91060-BFA7-4C85-95D3-DEAB59D0D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0F19A8-FB28-494A-A8A3-836963C086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2D008A-8E41-411D-9C8A-3004695F4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56B717-E77D-4D3C-A5FA-609EB4197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D31035-1BCA-4C83-AD5C-6AD53926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1663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374280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80152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4778752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3376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305420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01540395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74927-56B8-4187-A831-0043C1159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A442BC-338B-4F2C-9EC4-FAC3A614EE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47CC8-1B26-4CF2-9496-9FDF1A0E5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B42D21-2A86-4A05-903F-356BA1B5E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B6BBF8-62B1-4FF9-BF66-08670D436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104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6A31A-9702-4A92-A298-E42C1389C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68AA79-081B-4F1C-8EC5-6569DD095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8A68C5-1101-48D1-8580-77AA4FB15D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8F3454-6473-46B9-B321-F2DC627A4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06C67D-D97A-409F-8068-1A3F72F13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BBD00C-D6C1-4A0B-AB89-D4699E787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5741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116B2-0AF2-462C-B363-48ED5E60F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D57E3-BFC5-4357-96E7-FD42063AB2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640D5C-805E-412B-A134-CF5CF99206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43F71C-4274-4325-8872-40B8022541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0C90B0-F8E1-4EE4-9B7F-9DFD1A5798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7BBF66-CEAB-43E2-80D4-27B4F007B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0071BB-1964-4EB2-BF8C-998C2A44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9D4782-3B3F-4A9C-ACE3-CAF570C4D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0536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828FF-9689-41E5-A6B0-3C6CCC418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D81794-477F-4FC9-B56F-03B74EE1F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9F6D6F-8197-4CA8-B9DF-71F05CFC0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E1135C-118A-45E2-BC2A-BA25854C2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213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3DA661-DBE6-4846-9CE8-AAE2809F3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C3C7CB-5C78-4CCB-8FA4-6AA5536B6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DE1A32-70EC-475B-B00B-3815CC2EC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514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A9E38-5477-4AF5-80D0-F0553EF846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6E19B6-6734-410C-84B5-6FD77E389C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D9FEC-B2A2-44EE-BB57-820588EE33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B38955-EF56-49E8-89F9-3184D15B1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0684A-6963-4459-AC63-5096E8C0E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5426F0-EEB9-407B-A3FA-B6DA9433D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133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CB01C-7D97-4625-9DF2-69BCA1E08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A3DC68-5250-4E6E-B60E-AB813C9B83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1F1400-DEF6-49DE-8786-3538F6AD7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53379D-DFFD-4BB2-BF76-377D51290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F9E0E1-28AF-47EF-87FE-ECB176CB7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3297F8-3BED-4A7D-83B5-915403A9B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97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577B05-F6FA-40C5-B341-BFFFD3A05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7EEFA-039B-43CA-8FC6-81AC549EC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B40240-CF44-4287-90E3-3CD7B2AE86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80B4C-D451-485F-A68D-F74D1D9B3A3B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B48954-0530-40E9-84B7-5A3AE71457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761E2E-D337-432D-AD86-681197D0D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E43F2-8E14-4CAA-9699-192145AB8A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72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18" imgW="519" imgH="520" progId="TCLayout.ActiveDocument.1">
                  <p:embed/>
                </p:oleObj>
              </mc:Choice>
              <mc:Fallback>
                <p:oleObj name="think-cell Slide" r:id="rId18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8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png"/><Relationship Id="rId7" Type="http://schemas.openxmlformats.org/officeDocument/2006/relationships/image" Target="../media/image3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26.png"/><Relationship Id="rId10" Type="http://schemas.openxmlformats.org/officeDocument/2006/relationships/image" Target="../media/image34.png"/><Relationship Id="rId4" Type="http://schemas.openxmlformats.org/officeDocument/2006/relationships/image" Target="../media/image20.pn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2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42739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ing the HCP Journe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 German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07174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#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y 12, 202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748939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6207869-A05E-4004-AB2A-733812E5CA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19" y="5124291"/>
            <a:ext cx="1301795" cy="13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2474913"/>
            <a:ext cx="10048682" cy="1766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sz="3600">
                <a:solidFill>
                  <a:schemeClr val="accent1"/>
                </a:solidFill>
              </a:rPr>
              <a:t>Working Session</a:t>
            </a:r>
            <a:br>
              <a:rPr lang="en-GB" sz="3600" b="1">
                <a:solidFill>
                  <a:schemeClr val="accent1"/>
                </a:solidFill>
              </a:rPr>
            </a:br>
            <a:r>
              <a:rPr lang="en-GB" sz="3200" b="1">
                <a:solidFill>
                  <a:schemeClr val="bg1"/>
                </a:solidFill>
              </a:rPr>
              <a:t>- Framework</a:t>
            </a:r>
            <a:endParaRPr lang="en-FR" kern="0" baseline="3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293474"/>
      </p:ext>
    </p:extLst>
  </p:cSld>
  <p:clrMapOvr>
    <a:masterClrMapping/>
  </p:clrMapOvr>
  <p:transition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Framewor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What are the framework elements that we should include in the journeys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20485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BA8C68-DCD7-4B48-A375-E4C7A4836749}"/>
              </a:ext>
            </a:extLst>
          </p:cNvPr>
          <p:cNvSpPr/>
          <p:nvPr/>
        </p:nvSpPr>
        <p:spPr bwMode="auto">
          <a:xfrm>
            <a:off x="213064" y="1704513"/>
            <a:ext cx="4526536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400">
              <a:latin typeface="Tahoma" pitchFamily="-107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622D44-E85F-442B-90A1-C8DBB4CFBC9E}"/>
              </a:ext>
            </a:extLst>
          </p:cNvPr>
          <p:cNvSpPr/>
          <p:nvPr/>
        </p:nvSpPr>
        <p:spPr bwMode="auto">
          <a:xfrm>
            <a:off x="5498980" y="1704513"/>
            <a:ext cx="2845248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Compon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10806722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/>
              <a:t>In order to accelerate the creation of the journeys, in our experience it is valuable to first discuss the constituents of the Journey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02CE04-681A-4EEF-A4BA-B0BE6EBFD2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952" t="1417" r="8806" b="5842"/>
          <a:stretch/>
        </p:blipFill>
        <p:spPr>
          <a:xfrm>
            <a:off x="379634" y="5282065"/>
            <a:ext cx="2957137" cy="119493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8863E9F-875E-4A5C-8AEA-81A54C988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34" y="3879787"/>
            <a:ext cx="2280502" cy="127081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0727590-9454-4C89-B7B5-4674C87606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440" y="2987738"/>
            <a:ext cx="983328" cy="77689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AB110A-470F-485C-9A5E-0F552A3408C6}"/>
              </a:ext>
            </a:extLst>
          </p:cNvPr>
          <p:cNvSpPr txBox="1"/>
          <p:nvPr/>
        </p:nvSpPr>
        <p:spPr>
          <a:xfrm>
            <a:off x="1369884" y="2260483"/>
            <a:ext cx="1432589" cy="31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Segment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9518C3-A9D7-4784-AB78-6820C08D3001}"/>
              </a:ext>
            </a:extLst>
          </p:cNvPr>
          <p:cNvSpPr txBox="1"/>
          <p:nvPr/>
        </p:nvSpPr>
        <p:spPr>
          <a:xfrm>
            <a:off x="1519885" y="315184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Behavioural 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03A7B-35EA-460C-974C-36263B9AE30A}"/>
              </a:ext>
            </a:extLst>
          </p:cNvPr>
          <p:cNvSpPr txBox="1"/>
          <p:nvPr/>
        </p:nvSpPr>
        <p:spPr>
          <a:xfrm>
            <a:off x="2802917" y="4379611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Adoption Lad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22F910-EF63-43EA-BB20-AB1F25E1D127}"/>
              </a:ext>
            </a:extLst>
          </p:cNvPr>
          <p:cNvSpPr txBox="1"/>
          <p:nvPr/>
        </p:nvSpPr>
        <p:spPr>
          <a:xfrm>
            <a:off x="3471586" y="576991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Content &amp; Channels</a:t>
            </a:r>
          </a:p>
        </p:txBody>
      </p:sp>
      <p:sp>
        <p:nvSpPr>
          <p:cNvPr id="20" name="Plus Sign 19">
            <a:extLst>
              <a:ext uri="{FF2B5EF4-FFF2-40B4-BE49-F238E27FC236}">
                <a16:creationId xmlns:a16="http://schemas.microsoft.com/office/drawing/2014/main" id="{92956D50-6992-4AB7-988A-A71362AC1A42}"/>
              </a:ext>
            </a:extLst>
          </p:cNvPr>
          <p:cNvSpPr/>
          <p:nvPr/>
        </p:nvSpPr>
        <p:spPr bwMode="auto">
          <a:xfrm>
            <a:off x="4710110" y="3204930"/>
            <a:ext cx="826225" cy="867983"/>
          </a:xfrm>
          <a:prstGeom prst="mathPlus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84409-2604-4F13-9C41-EA4D7AC1AE35}"/>
              </a:ext>
            </a:extLst>
          </p:cNvPr>
          <p:cNvSpPr txBox="1"/>
          <p:nvPr/>
        </p:nvSpPr>
        <p:spPr>
          <a:xfrm>
            <a:off x="6156679" y="1797125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Journey Scenario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EDC07D-51D5-4337-B866-0CC0A69A1C32}"/>
              </a:ext>
            </a:extLst>
          </p:cNvPr>
          <p:cNvSpPr txBox="1"/>
          <p:nvPr/>
        </p:nvSpPr>
        <p:spPr>
          <a:xfrm>
            <a:off x="6129559" y="3801297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tx2"/>
                </a:solidFill>
              </a:rPr>
              <a:t>Key ev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EF90F7-9D6D-4885-BE6A-9B2DF4E87A44}"/>
              </a:ext>
            </a:extLst>
          </p:cNvPr>
          <p:cNvSpPr txBox="1"/>
          <p:nvPr/>
        </p:nvSpPr>
        <p:spPr>
          <a:xfrm>
            <a:off x="6156679" y="5692615"/>
            <a:ext cx="15758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tx2"/>
                </a:solidFill>
              </a:rPr>
              <a:t>“Moments of Truth”</a:t>
            </a:r>
          </a:p>
        </p:txBody>
      </p:sp>
      <p:sp>
        <p:nvSpPr>
          <p:cNvPr id="26" name="Equals 25">
            <a:extLst>
              <a:ext uri="{FF2B5EF4-FFF2-40B4-BE49-F238E27FC236}">
                <a16:creationId xmlns:a16="http://schemas.microsoft.com/office/drawing/2014/main" id="{CD9BD04D-1FCC-4680-BBD6-3AD7D47C559F}"/>
              </a:ext>
            </a:extLst>
          </p:cNvPr>
          <p:cNvSpPr/>
          <p:nvPr/>
        </p:nvSpPr>
        <p:spPr bwMode="auto">
          <a:xfrm>
            <a:off x="8421283" y="3411743"/>
            <a:ext cx="1017282" cy="555949"/>
          </a:xfrm>
          <a:prstGeom prst="mathEqual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27" name="Picture 2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80D73945-F3FB-496B-B6C5-2A24795A63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1894" y="3204930"/>
            <a:ext cx="2321724" cy="148779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F4E75E4-6AE1-401C-8C73-CB4EB2076EB2}"/>
              </a:ext>
            </a:extLst>
          </p:cNvPr>
          <p:cNvSpPr txBox="1"/>
          <p:nvPr/>
        </p:nvSpPr>
        <p:spPr>
          <a:xfrm>
            <a:off x="9884832" y="2863392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tx2"/>
                </a:solidFill>
              </a:rPr>
              <a:t>HCP Journeys</a:t>
            </a:r>
          </a:p>
        </p:txBody>
      </p:sp>
      <p:pic>
        <p:nvPicPr>
          <p:cNvPr id="29" name="Picture 28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AA4F710-2B3F-486C-85A7-DBDA5422E10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5933528" y="4098277"/>
            <a:ext cx="1967908" cy="1257082"/>
          </a:xfrm>
          <a:prstGeom prst="rect">
            <a:avLst/>
          </a:prstGeom>
        </p:spPr>
      </p:pic>
      <p:pic>
        <p:nvPicPr>
          <p:cNvPr id="31" name="Picture 30" descr="A group of people on a stage&#10;&#10;Description automatically generated with low confidence">
            <a:extLst>
              <a:ext uri="{FF2B5EF4-FFF2-40B4-BE49-F238E27FC236}">
                <a16:creationId xmlns:a16="http://schemas.microsoft.com/office/drawing/2014/main" id="{E34B8186-3CBC-4355-BC2E-80EB4434092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49" t="70681" r="4518"/>
          <a:stretch/>
        </p:blipFill>
        <p:spPr>
          <a:xfrm>
            <a:off x="6075780" y="2175126"/>
            <a:ext cx="1784897" cy="1341013"/>
          </a:xfrm>
          <a:prstGeom prst="rect">
            <a:avLst/>
          </a:prstGeom>
        </p:spPr>
      </p:pic>
      <p:pic>
        <p:nvPicPr>
          <p:cNvPr id="6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3EB0A6D-2BDF-4D6F-A450-30A23DDDCE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9799" y="1916606"/>
            <a:ext cx="504825" cy="495300"/>
          </a:xfrm>
          <a:prstGeom prst="rect">
            <a:avLst/>
          </a:prstGeom>
        </p:spPr>
      </p:pic>
      <p:pic>
        <p:nvPicPr>
          <p:cNvPr id="7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130FE88C-CBB9-4236-A4F5-B21084465D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1531" y="2354036"/>
            <a:ext cx="504825" cy="495300"/>
          </a:xfrm>
          <a:prstGeom prst="rect">
            <a:avLst/>
          </a:prstGeom>
        </p:spPr>
      </p:pic>
      <p:pic>
        <p:nvPicPr>
          <p:cNvPr id="9" name="Picture 2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B98AF9D-2279-4D87-9F47-67EBC82A74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3700" y="1914205"/>
            <a:ext cx="504825" cy="49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78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Scenario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9564166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 b="1">
                <a:solidFill>
                  <a:schemeClr val="bg2"/>
                </a:solidFill>
              </a:rPr>
              <a:t>We can create HCP Journeys based on different categories or </a:t>
            </a:r>
            <a:r>
              <a:rPr lang="en-GB" sz="2000" b="1" i="1">
                <a:solidFill>
                  <a:schemeClr val="bg2"/>
                </a:solidFill>
              </a:rPr>
              <a:t>Scenarios, for example:</a:t>
            </a:r>
          </a:p>
        </p:txBody>
      </p:sp>
      <p:sp>
        <p:nvSpPr>
          <p:cNvPr id="29" name="Round Single Corner Rectangle 1">
            <a:extLst>
              <a:ext uri="{FF2B5EF4-FFF2-40B4-BE49-F238E27FC236}">
                <a16:creationId xmlns:a16="http://schemas.microsoft.com/office/drawing/2014/main" id="{E8CC11C8-CCFB-49BC-9E57-55571375C5BF}"/>
              </a:ext>
            </a:extLst>
          </p:cNvPr>
          <p:cNvSpPr/>
          <p:nvPr/>
        </p:nvSpPr>
        <p:spPr>
          <a:xfrm flipH="1">
            <a:off x="2172916" y="2413480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Field-Driven</a:t>
            </a:r>
          </a:p>
        </p:txBody>
      </p:sp>
      <p:sp>
        <p:nvSpPr>
          <p:cNvPr id="30" name="Round Single Corner Rectangle 1">
            <a:extLst>
              <a:ext uri="{FF2B5EF4-FFF2-40B4-BE49-F238E27FC236}">
                <a16:creationId xmlns:a16="http://schemas.microsoft.com/office/drawing/2014/main" id="{06A31EF5-4483-40ED-BABF-2A850A9D0C14}"/>
              </a:ext>
            </a:extLst>
          </p:cNvPr>
          <p:cNvSpPr/>
          <p:nvPr/>
        </p:nvSpPr>
        <p:spPr>
          <a:xfrm flipH="1">
            <a:off x="4583010" y="2413484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HCP-Driven</a:t>
            </a:r>
          </a:p>
        </p:txBody>
      </p:sp>
      <p:sp>
        <p:nvSpPr>
          <p:cNvPr id="31" name="Round Single Corner Rectangle 1">
            <a:extLst>
              <a:ext uri="{FF2B5EF4-FFF2-40B4-BE49-F238E27FC236}">
                <a16:creationId xmlns:a16="http://schemas.microsoft.com/office/drawing/2014/main" id="{216FEA9B-D653-40EF-9189-3B54DF33124D}"/>
              </a:ext>
            </a:extLst>
          </p:cNvPr>
          <p:cNvSpPr/>
          <p:nvPr/>
        </p:nvSpPr>
        <p:spPr>
          <a:xfrm flipH="1">
            <a:off x="6993104" y="2413483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Event-Driven</a:t>
            </a:r>
          </a:p>
        </p:txBody>
      </p:sp>
      <p:pic>
        <p:nvPicPr>
          <p:cNvPr id="32" name="Picture 31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26F32E38-332F-47D3-82EF-016DEC51D5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" t="53710" r="74297" b="8871"/>
          <a:stretch/>
        </p:blipFill>
        <p:spPr>
          <a:xfrm>
            <a:off x="2206873" y="3389421"/>
            <a:ext cx="2188491" cy="1357486"/>
          </a:xfrm>
          <a:prstGeom prst="rect">
            <a:avLst/>
          </a:prstGeom>
        </p:spPr>
      </p:pic>
      <p:pic>
        <p:nvPicPr>
          <p:cNvPr id="33" name="Picture 32" descr="A picture containing wall, skiing, different, various&#10;&#10;Description automatically generated">
            <a:extLst>
              <a:ext uri="{FF2B5EF4-FFF2-40B4-BE49-F238E27FC236}">
                <a16:creationId xmlns:a16="http://schemas.microsoft.com/office/drawing/2014/main" id="{A847BA4D-1125-4C5F-A358-7FCDFF32C9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68" t="73750" r="35678" b="6591"/>
          <a:stretch/>
        </p:blipFill>
        <p:spPr>
          <a:xfrm>
            <a:off x="4470721" y="3616600"/>
            <a:ext cx="2326057" cy="1137094"/>
          </a:xfrm>
          <a:prstGeom prst="rect">
            <a:avLst/>
          </a:prstGeom>
        </p:spPr>
      </p:pic>
      <p:pic>
        <p:nvPicPr>
          <p:cNvPr id="34" name="Picture 33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7B860CC-CFCC-42B5-8AF4-CC96A75601C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6938426" y="3399542"/>
            <a:ext cx="2243169" cy="14329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14ACC-77DD-43CB-81B0-518F2CC54D9F}"/>
              </a:ext>
            </a:extLst>
          </p:cNvPr>
          <p:cNvSpPr txBox="1"/>
          <p:nvPr/>
        </p:nvSpPr>
        <p:spPr>
          <a:xfrm>
            <a:off x="4749935" y="4800540"/>
            <a:ext cx="218849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Multiple segmentation dimensions – priority, medical, commercial…</a:t>
            </a:r>
          </a:p>
          <a:p>
            <a:endParaRPr lang="en-GB" sz="105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2B5110-20E2-4202-8BB1-E4DDC9B6723E}"/>
              </a:ext>
            </a:extLst>
          </p:cNvPr>
          <p:cNvSpPr txBox="1"/>
          <p:nvPr/>
        </p:nvSpPr>
        <p:spPr>
          <a:xfrm>
            <a:off x="5105260" y="5990858"/>
            <a:ext cx="526133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Flexible in how the targets are</a:t>
            </a:r>
          </a:p>
          <a:p>
            <a:r>
              <a:rPr lang="en-GB" sz="1050"/>
              <a:t>Designed for the ‘core’ prescription target audience of </a:t>
            </a:r>
            <a:r>
              <a:rPr lang="en-GB" sz="1050" err="1"/>
              <a:t>Gis</a:t>
            </a:r>
            <a:endParaRPr lang="en-GB" sz="1050"/>
          </a:p>
          <a:p>
            <a:endParaRPr lang="en-GB" sz="105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18C2E6-B9AE-4834-A9C4-E4ED9E511848}"/>
              </a:ext>
            </a:extLst>
          </p:cNvPr>
          <p:cNvSpPr txBox="1"/>
          <p:nvPr/>
        </p:nvSpPr>
        <p:spPr>
          <a:xfrm>
            <a:off x="2184759" y="4708546"/>
            <a:ext cx="2188491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Rep and Medical journeys will be different, but they will work alongside each other.</a:t>
            </a:r>
          </a:p>
          <a:p>
            <a:r>
              <a:rPr lang="en-GB" sz="1050"/>
              <a:t>(Medical have knowledge ladder)</a:t>
            </a:r>
          </a:p>
          <a:p>
            <a:endParaRPr lang="en-GB" sz="1050"/>
          </a:p>
          <a:p>
            <a:r>
              <a:rPr lang="en-GB" sz="1050"/>
              <a:t>Rep journeys – </a:t>
            </a:r>
            <a:r>
              <a:rPr lang="en-GB" sz="1050" b="1"/>
              <a:t>adoption ladder focused – </a:t>
            </a:r>
            <a:r>
              <a:rPr lang="en-GB" sz="1050"/>
              <a:t>route to Rx.</a:t>
            </a:r>
            <a:endParaRPr lang="en-GB" sz="1050" b="1"/>
          </a:p>
        </p:txBody>
      </p:sp>
    </p:spTree>
    <p:extLst>
      <p:ext uri="{BB962C8B-B14F-4D97-AF65-F5344CB8AC3E}">
        <p14:creationId xmlns:p14="http://schemas.microsoft.com/office/powerpoint/2010/main" val="3435418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9B8E378-5C30-4EED-8D4C-2F3A95777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>
                <a:solidFill>
                  <a:schemeClr val="accent1"/>
                </a:solidFill>
              </a:rPr>
              <a:t>As part of HCP Journeys, we need to ensure that we are incorporating the core local elements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FEBA2B4D-3817-41A8-96E8-80F1598ABB1F}"/>
              </a:ext>
            </a:extLst>
          </p:cNvPr>
          <p:cNvSpPr txBox="1">
            <a:spLocks/>
          </p:cNvSpPr>
          <p:nvPr/>
        </p:nvSpPr>
        <p:spPr>
          <a:xfrm>
            <a:off x="828534" y="1655098"/>
            <a:ext cx="10806722" cy="1523206"/>
          </a:xfrm>
          <a:prstGeom prst="rect">
            <a:avLst/>
          </a:prstGeom>
        </p:spPr>
        <p:txBody>
          <a:bodyPr/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2pPr>
            <a:lvl3pPr marL="1030239" indent="-223827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41381" indent="-231764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1800140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kern="0">
                <a:solidFill>
                  <a:schemeClr val="bg1"/>
                </a:solidFill>
              </a:rPr>
              <a:t>1. Which are the </a:t>
            </a:r>
            <a:r>
              <a:rPr lang="en-GB" b="1" u="sng" kern="0">
                <a:solidFill>
                  <a:schemeClr val="bg1"/>
                </a:solidFill>
              </a:rPr>
              <a:t>Key Events </a:t>
            </a:r>
            <a:r>
              <a:rPr lang="en-GB" b="1" kern="0">
                <a:solidFill>
                  <a:schemeClr val="bg1"/>
                </a:solidFill>
              </a:rPr>
              <a:t>we want to incorporate into the journeys?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i="1" kern="0">
                <a:solidFill>
                  <a:schemeClr val="bg1"/>
                </a:solidFill>
              </a:rPr>
              <a:t>(EULAR, Key Webinars etc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b="1" kern="0">
              <a:solidFill>
                <a:schemeClr val="bg1"/>
              </a:solidFill>
            </a:endParaRP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4266900-2226-4BC8-9713-4ED723EA02CE}"/>
              </a:ext>
            </a:extLst>
          </p:cNvPr>
          <p:cNvSpPr txBox="1">
            <a:spLocks/>
          </p:cNvSpPr>
          <p:nvPr/>
        </p:nvSpPr>
        <p:spPr>
          <a:xfrm>
            <a:off x="692639" y="3550572"/>
            <a:ext cx="10806722" cy="1523206"/>
          </a:xfrm>
          <a:prstGeom prst="rect">
            <a:avLst/>
          </a:prstGeom>
        </p:spPr>
        <p:txBody>
          <a:bodyPr/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2pPr>
            <a:lvl3pPr marL="1030239" indent="-223827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41381" indent="-231764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1800140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kern="0">
                <a:solidFill>
                  <a:schemeClr val="bg1"/>
                </a:solidFill>
              </a:rPr>
              <a:t>2. What are the key ‘Milestones’ in the IBD Journey?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i="1" kern="0">
                <a:solidFill>
                  <a:schemeClr val="bg1"/>
                </a:solidFill>
              </a:rPr>
              <a:t>(First Prescription, Patient Identification etc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b="1" kern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39922D-03E1-4491-8FD2-699D45D52092}"/>
              </a:ext>
            </a:extLst>
          </p:cNvPr>
          <p:cNvSpPr txBox="1"/>
          <p:nvPr/>
        </p:nvSpPr>
        <p:spPr>
          <a:xfrm>
            <a:off x="2176053" y="4949601"/>
            <a:ext cx="8111684" cy="1200329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n-GB" sz="3600" b="1">
                <a:solidFill>
                  <a:schemeClr val="bg1"/>
                </a:solidFill>
              </a:rPr>
              <a:t>Go to Slido.com</a:t>
            </a:r>
          </a:p>
          <a:p>
            <a:pPr algn="ctr"/>
            <a:r>
              <a:rPr lang="en-GB" sz="3600">
                <a:solidFill>
                  <a:schemeClr val="bg1"/>
                </a:solidFill>
              </a:rPr>
              <a:t>And enter the code: </a:t>
            </a:r>
            <a:r>
              <a:rPr lang="en-GB" sz="3600">
                <a:solidFill>
                  <a:schemeClr val="accent1"/>
                </a:solidFill>
              </a:rPr>
              <a:t>#</a:t>
            </a:r>
            <a:r>
              <a:rPr lang="en-GB" sz="3600" b="1">
                <a:solidFill>
                  <a:schemeClr val="accent1"/>
                </a:solidFill>
              </a:rPr>
              <a:t>IDEIBD</a:t>
            </a:r>
          </a:p>
        </p:txBody>
      </p:sp>
    </p:spTree>
    <p:extLst>
      <p:ext uri="{BB962C8B-B14F-4D97-AF65-F5344CB8AC3E}">
        <p14:creationId xmlns:p14="http://schemas.microsoft.com/office/powerpoint/2010/main" val="2575363428"/>
      </p:ext>
    </p:extLst>
  </p:cSld>
  <p:clrMapOvr>
    <a:masterClrMapping/>
  </p:clrMapOvr>
  <p:transition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ich are the </a:t>
            </a:r>
            <a:r>
              <a:rPr lang="en-GB" b="1" u="sng">
                <a:solidFill>
                  <a:schemeClr val="accent1"/>
                </a:solidFill>
              </a:rPr>
              <a:t>Key Events </a:t>
            </a:r>
            <a:r>
              <a:rPr lang="en-GB" b="1">
                <a:solidFill>
                  <a:schemeClr val="accent1"/>
                </a:solidFill>
              </a:rPr>
              <a:t>we want to incorporate  ?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sz="1200" b="1" i="1">
              <a:solidFill>
                <a:srgbClr val="00463E"/>
              </a:solidFill>
              <a:latin typeface="Tahoma" panose="020B0604030504040204" pitchFamily="34" charset="0"/>
            </a:endParaRPr>
          </a:p>
        </p:txBody>
      </p:sp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3549728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ich are the </a:t>
            </a:r>
            <a:r>
              <a:rPr lang="en-GB" b="1" u="sng">
                <a:solidFill>
                  <a:schemeClr val="accent1"/>
                </a:solidFill>
              </a:rPr>
              <a:t>Milestones </a:t>
            </a:r>
            <a:r>
              <a:rPr lang="en-GB" b="1">
                <a:solidFill>
                  <a:schemeClr val="accent1"/>
                </a:solidFill>
              </a:rPr>
              <a:t>we want to consider ?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endParaRPr lang="en-US" sz="1200" i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823817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Progress Sharing &amp; Tool Demo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557374"/>
      </p:ext>
    </p:extLst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. Uses JYSELECA  as their advanced treatment of choice.</a:t>
            </a:r>
          </a:p>
          <a:p>
            <a:pPr marL="116413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. 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. M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79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98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CE FIRST</a:t>
            </a:r>
          </a:p>
          <a:p>
            <a:pPr marL="0" marR="0" lvl="0" indent="0" algn="ctr" defTabSz="912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98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1 of 2)</a:t>
            </a:r>
            <a:r>
              <a:rPr kumimoji="0" lang="en-GB" sz="798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Chang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behaviour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from current 2</a:t>
            </a:r>
            <a:r>
              <a:rPr kumimoji="0" lang="en-US" sz="900" b="0" i="0" u="none" strike="noStrike" kern="0" cap="none" spc="0" normalizeH="0" baseline="3000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nd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/3</a:t>
            </a:r>
            <a:r>
              <a:rPr kumimoji="0" lang="en-US" sz="900" b="0" i="0" u="none" strike="noStrike" kern="0" cap="none" spc="0" normalizeH="0" baseline="3000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rd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line JAK inhibitor use to JYSELECA 1</a:t>
            </a:r>
            <a:r>
              <a:rPr kumimoji="0" lang="en-US" sz="900" b="0" i="0" u="none" strike="noStrike" kern="0" cap="none" spc="0" normalizeH="0" baseline="3000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st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line in bio-naiv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od options now</a:t>
            </a:r>
          </a:p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w </a:t>
            </a:r>
            <a:r>
              <a:rPr kumimoji="0" lang="en-GB" sz="900" b="0" i="0" u="none" strike="noStrike" kern="0" cap="none" spc="0" normalizeH="0" baseline="0" noProof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As</a:t>
            </a: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are no more effective</a:t>
            </a:r>
          </a:p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venience is not driving long term remission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Identify &amp; trial JYSELECA in a patient who would benefit from a new mode of action and reassured by the mucosal healing &amp; histologic remission achiev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Identify a wider pool of patients who are not adequately controlled &amp; use JYSELECA to achieve mucosal healing &amp; long-term resul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xpand usage of JYSELECA as oral, that does not need steroid and provides the depth of sustained remission that they are looking f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s JYSELECA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fficacy Messaging Objective: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F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ocu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ffective as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fety Messaging Objective: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monstrated safety and tolerability profile in UC studie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w rates of special interest AE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venience Messaging Objective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Detailed Messaging: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 simple once-daily 200-mg oral tablet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me dose for induction and maintenanc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inimal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immunogenicity and TDM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infusions or injection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firm positive experiences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ith JYSELECA and support use as advanced treatment of choic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 potential advocates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d influencers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085695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. Uses JYSELECA  as their advanced treatment of choice.</a:t>
            </a:r>
          </a:p>
          <a:p>
            <a:pPr marL="116413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. 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. M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80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98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CE FIRST</a:t>
            </a:r>
          </a:p>
          <a:p>
            <a:pPr marL="0" marR="0" lvl="0" indent="0" algn="ctr" defTabSz="912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98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 of 2)</a:t>
            </a:r>
            <a:r>
              <a:rPr kumimoji="0" lang="en-GB" sz="798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34448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239616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fficacy Messaging Objective: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F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ocu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ffective as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fety Messaging Objective: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monstrated safety and tolerability profile in UC studie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w rates of special interest AE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venience Messaging Objective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Detailed Messaging: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 is a simple once-daily 200-mg oral tablet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me dose for induction and maintenanc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inimal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immunogenicity and TDM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infusions or injections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firm positive experiences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ith JYSELECA and support use as advanced treatment of choic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 potential advocates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d influencers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TS -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efficacy pages &amp; leave behin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mail - SF 1 RTE 1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- SF 1 banner ad and email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– SF 1  journal a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Web - JYSELECA HCP Portal 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SF self-led DA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KOL SELECTION video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FAQ Podcasts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Conference - Exhibition Booth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cal affairs activities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Tahoma"/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TS -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-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o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/safety pages &amp; leave behin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mail - SF 2 RTE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-  SF 2 banner ad and email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- SF 2 journal a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Web -  JYSELECA HCP Portal 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SGF self-led DA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o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video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FAQ Podcasts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Conference - Exhibition Booth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TS - 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 - convenience pages &amp; leave behin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TS - Patient brochure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Email -  SF 3 RTE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- SF 3 banner ad and email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a - SF 3 journal ad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Web - JYSELECA HCP portal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SF self-led DA</a:t>
            </a:r>
          </a:p>
          <a:p>
            <a:pPr marL="628650" marR="0" lvl="1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Real life patient cases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Conference – Exhibition Booth</a:t>
            </a:r>
          </a:p>
          <a:p>
            <a:pPr marL="171450" marR="0" lvl="0" indent="-17145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Tahoma"/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351415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Introductions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615201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203167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10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02AF15-6837-44AA-BC76-3C2B5E68696D}"/>
              </a:ext>
            </a:extLst>
          </p:cNvPr>
          <p:cNvSpPr txBox="1"/>
          <p:nvPr/>
        </p:nvSpPr>
        <p:spPr>
          <a:xfrm>
            <a:off x="6096000" y="2842771"/>
            <a:ext cx="5444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ellence is a simple,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-page journey creation tool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with collaboration functiona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e are using Custellence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olely to help guide the creation of HCP Journeys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not for use in the orchestration or execution of journeys.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F1519-4AA7-274E-9EA3-52A4E4955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Tool – Live Demo</a:t>
            </a:r>
            <a:endParaRPr lang="en-FR"/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635F706D-4ACF-4E31-858F-CD8D1E29AA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638" y="849464"/>
            <a:ext cx="8816742" cy="564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638260"/>
      </p:ext>
    </p:extLst>
  </p:cSld>
  <p:clrMapOvr>
    <a:masterClrMapping/>
  </p:clrMapOvr>
  <p:transition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2474913"/>
            <a:ext cx="10048682" cy="1766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sz="3600">
                <a:solidFill>
                  <a:schemeClr val="accent1"/>
                </a:solidFill>
              </a:rPr>
              <a:t>Working Session</a:t>
            </a:r>
            <a:br>
              <a:rPr lang="en-GB" sz="3600" b="1">
                <a:solidFill>
                  <a:schemeClr val="accent1"/>
                </a:solidFill>
              </a:rPr>
            </a:br>
            <a:r>
              <a:rPr lang="en-GB" sz="3200" b="1">
                <a:solidFill>
                  <a:schemeClr val="bg1"/>
                </a:solidFill>
              </a:rPr>
              <a:t>- </a:t>
            </a:r>
            <a:r>
              <a:rPr lang="en-GB" sz="3200" b="1" err="1">
                <a:solidFill>
                  <a:schemeClr val="bg1"/>
                </a:solidFill>
              </a:rPr>
              <a:t>Custellence</a:t>
            </a:r>
            <a:r>
              <a:rPr lang="en-GB" sz="3200" b="1" baseline="30000">
                <a:solidFill>
                  <a:schemeClr val="bg1"/>
                </a:solidFill>
              </a:rPr>
              <a:t>®</a:t>
            </a:r>
            <a:endParaRPr lang="en-FR" kern="0" baseline="3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316264"/>
      </p:ext>
    </p:extLst>
  </p:cSld>
  <p:clrMapOvr>
    <a:masterClrMapping/>
  </p:clrMapOvr>
  <p:transition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Using Custellence</a:t>
            </a:r>
            <a:r>
              <a:rPr lang="en-GB" sz="2400" b="1" baseline="30000">
                <a:solidFill>
                  <a:schemeClr val="accent1"/>
                </a:solidFill>
              </a:rPr>
              <a:t>®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How can we refine and complete the customer journeys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787010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Debrief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886495"/>
      </p:ext>
    </p:extLst>
  </p:cSld>
  <p:clrMapOvr>
    <a:masterClrMapping/>
  </p:clrMapOvr>
  <p:transition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Next Steps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741012"/>
      </p:ext>
    </p:extLst>
  </p:cSld>
  <p:clrMapOvr>
    <a:masterClrMapping/>
  </p:clrMapOvr>
  <p:transition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7860F-D7C9-5A4B-B5CF-EACFC3CCB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llowing Today’s Session</a:t>
            </a:r>
            <a:endParaRPr lang="en-FR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24B61DC-8D57-E341-AADF-DA29275A4EED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1983389736"/>
              </p:ext>
            </p:extLst>
          </p:nvPr>
        </p:nvGraphicFramePr>
        <p:xfrm>
          <a:off x="733425" y="1773238"/>
          <a:ext cx="10806111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9085">
                  <a:extLst>
                    <a:ext uri="{9D8B030D-6E8A-4147-A177-3AD203B41FA5}">
                      <a16:colId xmlns:a16="http://schemas.microsoft.com/office/drawing/2014/main" val="380737272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val="3994714954"/>
                    </a:ext>
                  </a:extLst>
                </a:gridCol>
                <a:gridCol w="1526856">
                  <a:extLst>
                    <a:ext uri="{9D8B030D-6E8A-4147-A177-3AD203B41FA5}">
                      <a16:colId xmlns:a16="http://schemas.microsoft.com/office/drawing/2014/main" val="7481875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FR"/>
                        <a:t>Actio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Who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Wh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1702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ontinue build of HCP Journeys following lessons learned &amp; outcomes of today’s session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Veev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755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view Adoption Ladder Template for relevance in German market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German Team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5579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1056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Appendix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56158"/>
      </p:ext>
    </p:extLst>
  </p:cSld>
  <p:clrMapOvr>
    <a:masterClrMapping/>
  </p:clrMapOvr>
  <p:transition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re-Launch </a:t>
            </a:r>
            <a:r>
              <a:rPr lang="en-US" err="1"/>
              <a:t>Behaviour</a:t>
            </a:r>
            <a:r>
              <a:rPr lang="en-US"/>
              <a:t> Change Sca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05279" y="4521200"/>
            <a:ext cx="8669558" cy="461665"/>
          </a:xfrm>
        </p:spPr>
        <p:txBody>
          <a:bodyPr/>
          <a:lstStyle/>
          <a:p>
            <a:r>
              <a:rPr lang="en-US"/>
              <a:t>Non-segmented and Modeled on Science Fir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021876"/>
      </p:ext>
    </p:extLst>
  </p:cSld>
  <p:clrMapOvr>
    <a:masterClrMapping/>
  </p:clrMapOvr>
  <p:transition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Open to trial new rigorously studied JAK-preferential inhibitors.</a:t>
            </a:r>
          </a:p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kern="0">
              <a:solidFill>
                <a:srgbClr val="717471">
                  <a:lumMod val="75000"/>
                </a:srgbClr>
              </a:solidFill>
              <a:cs typeface="Arial" panose="020B0604020202020204" pitchFamily="34" charset="0"/>
            </a:endParaRPr>
          </a:p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Optimistic about the pipeline. Looking forward to new MoAs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Flexible approach is optimal.. Additional effective/safe options needed. New MoAs are proving themselve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A Revolution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ferential Approac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Tx Need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 Patients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ncourage confident problem-solvers who have a flexible approach to UC treatment to include JAK1-preferential MoA in their treatment paradigm thinking.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ts val="1400"/>
              </a:lnSpc>
              <a:defRPr/>
            </a:pPr>
            <a:r>
              <a:rPr lang="en-GB" sz="900" kern="0">
                <a:solidFill>
                  <a:srgbClr val="585858"/>
                </a:solidFill>
              </a:rPr>
              <a:t>Good options now</a:t>
            </a:r>
          </a:p>
          <a:p>
            <a:pPr lvl="0" algn="ctr">
              <a:lnSpc>
                <a:spcPts val="1400"/>
              </a:lnSpc>
              <a:defRPr/>
            </a:pPr>
            <a:r>
              <a:rPr lang="en-GB" sz="900" kern="0">
                <a:solidFill>
                  <a:srgbClr val="585858"/>
                </a:solidFill>
              </a:rPr>
              <a:t>New MoAs are no more effective</a:t>
            </a:r>
          </a:p>
          <a:p>
            <a:pPr lvl="0" algn="ctr">
              <a:lnSpc>
                <a:spcPts val="1400"/>
              </a:lnSpc>
              <a:defRPr/>
            </a:pPr>
            <a:r>
              <a:rPr lang="en-GB" sz="900" kern="0">
                <a:solidFill>
                  <a:srgbClr val="585858"/>
                </a:solidFill>
              </a:rPr>
              <a:t>Potential access challen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stablish that various cytokines, signalling pathways and particularly the JAK-STAT pathway are of therapeutic interest in UC.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Increase focus on JAK-1 containing pairs in the JAK-STAT pathway and the difference between PAN-JAK and JAK-preferential approaches.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stablish need for proven MoAs that deliver sustained clinical remission &amp; mucosal healing when UC has not responded/stopped responding to therapy.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</a:rPr>
              <a:t>Open to try new rigorously studied JAK inhibitors  </a:t>
            </a:r>
            <a:br>
              <a:rPr lang="en-US" sz="900">
                <a:solidFill>
                  <a:srgbClr val="00463E"/>
                </a:solidFill>
                <a:latin typeface="+mj-lt"/>
              </a:rPr>
            </a:br>
            <a:r>
              <a:rPr lang="en-US" sz="900">
                <a:solidFill>
                  <a:srgbClr val="00463E"/>
                </a:solidFill>
                <a:latin typeface="+mj-lt"/>
              </a:rPr>
              <a:t>when available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MoA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Establish </a:t>
            </a:r>
            <a:r>
              <a:rPr lang="en-GB" sz="800" noProof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i</a:t>
            </a: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portance of the JAK-STAT pathway in UC pathogenesis</a:t>
            </a:r>
          </a:p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Various cytokines, signalling pathways and particularly the JAK-STAT pathway are of therapeutic interest in UC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 JAK-STAT pathway, comprising 4 JAK proteins, mediates both pro-inflammatory and normal physiological functions 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 pathway represents a point of convergence common to multiple pathways of inflammation that becomes deregulated in the excessive inflammatory signalling of UC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Preferential Messaging Objective: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differences between PAN-JAK and </a:t>
            </a:r>
            <a:b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</a:b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JAK1-preferential approaches </a:t>
            </a: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Many  pro-inflammatory cytokines implicated in UC signal through JAK1-containing pair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JAK2 is largely restricted to cells that are important for normal blood cell production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JAK3 is expressed in haematopoietic cells and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plays a key role in the development of immune cell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A preferential focus on JAK1 may be key to impact UC-associated inflammation while preserving normal physiologic activity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Unmet Needs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xplore unmet treatment needs and 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benefits of early intervention</a:t>
            </a:r>
          </a:p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re is an unmet need for additional efficacious, simple, and well-tolerated therapies with novel MoA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Rapid, sustained, and early control of inflammation has the potential to improve disease course in patients with UC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Sustained control of inflammation delivers 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clinical remission that should be corticosteroid-free and confirmed with endoscopic and ultimately histologic finding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463E"/>
                </a:solidFill>
              </a:rPr>
              <a:t>Think about patients who have relapsed on current therapy and </a:t>
            </a:r>
            <a:br>
              <a:rPr lang="en-US" sz="800">
                <a:solidFill>
                  <a:srgbClr val="00463E"/>
                </a:solidFill>
              </a:rPr>
            </a:br>
            <a:r>
              <a:rPr lang="en-US" sz="800">
                <a:solidFill>
                  <a:srgbClr val="00463E"/>
                </a:solidFill>
              </a:rPr>
              <a:t>could benefit from a new MoA with a less complex treatment regimen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463E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4043404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40DAA1-3343-DB48-A27E-62670004F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409545"/>
          </a:xfrm>
        </p:spPr>
        <p:txBody>
          <a:bodyPr/>
          <a:lstStyle/>
          <a:p>
            <a:r>
              <a:rPr lang="en-FR"/>
              <a:t>HCP Journey Workshop Agenda</a:t>
            </a:r>
            <a:r>
              <a:rPr lang="en-GB"/>
              <a:t> - IBD</a:t>
            </a:r>
            <a:endParaRPr lang="en-FR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DA8D63F-9C7B-9049-A963-9B83E9891FBA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1870519706"/>
              </p:ext>
            </p:extLst>
          </p:nvPr>
        </p:nvGraphicFramePr>
        <p:xfrm>
          <a:off x="872607" y="1669354"/>
          <a:ext cx="10590014" cy="44028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57750">
                  <a:extLst>
                    <a:ext uri="{9D8B030D-6E8A-4147-A177-3AD203B41FA5}">
                      <a16:colId xmlns:a16="http://schemas.microsoft.com/office/drawing/2014/main" val="1044127834"/>
                    </a:ext>
                  </a:extLst>
                </a:gridCol>
                <a:gridCol w="7918800">
                  <a:extLst>
                    <a:ext uri="{9D8B030D-6E8A-4147-A177-3AD203B41FA5}">
                      <a16:colId xmlns:a16="http://schemas.microsoft.com/office/drawing/2014/main" val="2916309213"/>
                    </a:ext>
                  </a:extLst>
                </a:gridCol>
                <a:gridCol w="1413464">
                  <a:extLst>
                    <a:ext uri="{9D8B030D-6E8A-4147-A177-3AD203B41FA5}">
                      <a16:colId xmlns:a16="http://schemas.microsoft.com/office/drawing/2014/main" val="4271608421"/>
                    </a:ext>
                  </a:extLst>
                </a:gridCol>
              </a:tblGrid>
              <a:tr h="507779">
                <a:tc>
                  <a:txBody>
                    <a:bodyPr/>
                    <a:lstStyle/>
                    <a:p>
                      <a:r>
                        <a:rPr lang="en-US"/>
                        <a:t>Time</a:t>
                      </a:r>
                      <a:endParaRPr lang="en-F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/>
                        <a:t>Top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/>
                        <a:t>Forma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5191521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US" sz="1200"/>
                        <a:t>3:30 – 3:4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Team introduction</a:t>
                      </a:r>
                      <a:r>
                        <a:rPr lang="en-GB" sz="1200"/>
                        <a:t>s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Roundta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6747310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US" sz="1200"/>
                        <a:t>3:40 – 3:5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Project Overview/What we want to achieve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Presen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9506158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US" sz="1200"/>
                        <a:t>3:50 – 4:10 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 b="1"/>
                        <a:t>Working session</a:t>
                      </a:r>
                      <a:r>
                        <a:rPr lang="en-GB" sz="1200" b="1"/>
                        <a:t>:</a:t>
                      </a:r>
                    </a:p>
                    <a:p>
                      <a:r>
                        <a:rPr lang="en-GB" sz="1200"/>
                        <a:t>Journey Framework - Events &amp; Key Moments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Interactive Session</a:t>
                      </a:r>
                      <a:endParaRPr lang="en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942239"/>
                  </a:ext>
                </a:extLst>
              </a:tr>
              <a:tr h="551019"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4:10 – 4:30 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/>
                        <a:t>Progress Sharing &amp; Tool Demo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Presen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9874738"/>
                  </a:ext>
                </a:extLst>
              </a:tr>
              <a:tr h="805133"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4:30 – 5:15 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 b="1"/>
                        <a:t>Working session</a:t>
                      </a:r>
                      <a:endParaRPr lang="en-GB" sz="1200" b="1"/>
                    </a:p>
                    <a:p>
                      <a:pPr marL="0" indent="0">
                        <a:buFontTx/>
                        <a:buNone/>
                      </a:pPr>
                      <a:r>
                        <a:rPr lang="en-GB" sz="1200" b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Review and starting to iterate the local journeys</a:t>
                      </a:r>
                      <a:endParaRPr lang="en-FR" sz="1200" b="1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Breakout Session</a:t>
                      </a:r>
                    </a:p>
                    <a:p>
                      <a:r>
                        <a:rPr lang="en-GB" sz="1200"/>
                        <a:t>G</a:t>
                      </a:r>
                      <a:r>
                        <a:rPr lang="en-FR" sz="1200"/>
                        <a:t>roup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8770851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US" sz="1200"/>
                        <a:t>5:15 – 5:25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ebrief &amp; group discussion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FR" sz="1200"/>
                        <a:t>Presentations back to the grou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2407733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US" sz="1200"/>
                        <a:t>5:25 – 5:3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Next ste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2353536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693AC09-26C6-AE45-BF69-A54CF0CE27C6}"/>
              </a:ext>
            </a:extLst>
          </p:cNvPr>
          <p:cNvSpPr/>
          <p:nvPr/>
        </p:nvSpPr>
        <p:spPr bwMode="auto">
          <a:xfrm>
            <a:off x="729379" y="774733"/>
            <a:ext cx="10819511" cy="75939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</a:t>
            </a:r>
            <a:r>
              <a:rPr kumimoji="0" lang="en-FR" sz="16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tende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ander, Jessika, Kathrin, Marc, Michael, Patrick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andre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areth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 (Veeva)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FR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5743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Behaviour: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 Open to trial new rigorously studied JAK-preferential inhibitors.</a:t>
            </a:r>
          </a:p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kern="0">
              <a:solidFill>
                <a:srgbClr val="717471">
                  <a:lumMod val="75000"/>
                </a:srgbClr>
              </a:solidFill>
              <a:cs typeface="Arial" panose="020B0604020202020204" pitchFamily="34" charset="0"/>
            </a:endParaRPr>
          </a:p>
          <a:p>
            <a:pPr marL="116413" lvl="0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Belief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cs typeface="Arial" panose="020B0604020202020204" pitchFamily="34" charset="0"/>
              </a:rPr>
              <a:t>: Optimistic about the pipeline. Looking forward to new MoAs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1219170" fontAlgn="base"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Behaviour: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Uses JAK inhibitors in 2nd/3rd line in a flexible approach.</a:t>
            </a: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defRPr/>
            </a:pPr>
            <a:endParaRPr lang="en-GB" sz="800" kern="0">
              <a:solidFill>
                <a:srgbClr val="DEB3A8">
                  <a:lumMod val="50000"/>
                </a:srgbClr>
              </a:solidFill>
              <a:ea typeface="Helvetica Neue Light"/>
              <a:cs typeface="Arial" panose="020B0604020202020204" pitchFamily="34" charset="0"/>
            </a:endParaRP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Belief: 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Flexible approach is optimal.. Additional effective/safe options needed. New MoAs are proving themselve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A Revolution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ferential Approac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TX Need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 Patients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34448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239616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MoA Messaging Objective:</a:t>
            </a: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 Establish </a:t>
            </a: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importance of the JAK-STAT pathway in UC pathogenesis</a:t>
            </a:r>
          </a:p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Various cytokines, signalling pathways and particularly the JAK-STAT pathway are of therapeutic interest in UC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 JAK-STAT pathway, comprising 4 JAK proteins, mediates both pro-inflammatory and normal physiological functions </a:t>
            </a:r>
          </a:p>
          <a:p>
            <a:pPr marL="171450" lvl="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 pathway represents a point of convergence common to multiple pathways of inflammation that becomes deregulated in the excessive inflammatory signalling of UC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Preferential Messaging Objective: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differences between PAN-JAK and </a:t>
            </a:r>
            <a:b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</a:b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JAK1-preferential approaches </a:t>
            </a: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Many  pro-inflammatory cytokines implicated in UC signal through JAK1-containing pair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JAK2 is largely restricted to cells that are important for normal blood cell production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JAK3 is expressed in haematopoietic cells and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plays a key role in the development of immune cell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A preferential focus on JAK1 may be key to impact UC-associated inflammation while preserving normal physiologic activity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Unmet Needs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xplore unmet treatment needs and 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benefits of early intervention</a:t>
            </a:r>
          </a:p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There is an unmet need for additional efficacious, simple, and well-tolerated therapies with novel MoA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Rapid, sustained, and early control of inflammation has the potential to improve disease course in patients with UC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Sustained control of inflammation delivers 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clinical remission that should be corticosteroid-free and confirmed with endoscopic and ultimately </a:t>
            </a:r>
            <a:b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</a:rPr>
              <a:t>histologic finding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463E"/>
                </a:solidFill>
              </a:rPr>
              <a:t>Think about patients who have relapsed on current therapy and </a:t>
            </a:r>
            <a:br>
              <a:rPr lang="en-US" sz="800">
                <a:solidFill>
                  <a:srgbClr val="00463E"/>
                </a:solidFill>
              </a:rPr>
            </a:br>
            <a:r>
              <a:rPr lang="en-US" sz="800">
                <a:solidFill>
                  <a:srgbClr val="00463E"/>
                </a:solidFill>
              </a:rPr>
              <a:t>could benefit from a new MoA with a less complex treatment regimen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463E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F - MoD pages in ‘Discussion Guide’ &amp; TFJS/GH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2 - MoA revolution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MoD banner ad, email &amp;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AK-STAT pages, MoD video, ‘Emerging Therapies Talking Head  video’ &amp; self-led DA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MoD quiz question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F – MoD pages in ‘Discussion Guide’&amp; T4JS/GH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4 – What’s new in UC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MoD banner ad, email &amp;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AK-STAT pages, MoD video, ‘Emerging Therapies Talking Head video’ &amp; self-led DA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F - unmet needs pages in ‘Discussion Guide’ &amp; TFJS/GH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3 – Unmet needs in UC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– unmet needs banner ad, email &amp;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unmet needs pages &amp; unmet needs video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unmet needs quiz questions &amp; self-led DA</a:t>
            </a:r>
            <a:endParaRPr lang="en-GB" sz="900">
              <a:solidFill>
                <a:srgbClr val="000000"/>
              </a:solidFill>
              <a:latin typeface="Tahoma"/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</p:txBody>
      </p:sp>
    </p:spTree>
    <p:extLst>
      <p:ext uri="{BB962C8B-B14F-4D97-AF65-F5344CB8AC3E}">
        <p14:creationId xmlns:p14="http://schemas.microsoft.com/office/powerpoint/2010/main" val="2787282987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ost-Launch Adoption Ladde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05279" y="4521200"/>
            <a:ext cx="5115803" cy="461665"/>
          </a:xfrm>
        </p:spPr>
        <p:txBody>
          <a:bodyPr/>
          <a:lstStyle/>
          <a:p>
            <a:r>
              <a:rPr lang="en-US"/>
              <a:t>By Segm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802021"/>
      </p:ext>
    </p:extLst>
  </p:cSld>
  <p:clrMapOvr>
    <a:masterClrMapping/>
  </p:clrMapOvr>
  <p:transition>
    <p:wipe dir="d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tx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Change behaviour from current 2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n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/3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r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JAK inhibitor use to JYSELECA 1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in bio-naive</a:t>
            </a:r>
            <a:endParaRPr kumimoji="0" lang="en-US" sz="900" b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Good options now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New MoAs are no more effectiv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Convenience is not driving long term remission</a:t>
            </a:r>
            <a:endParaRPr lang="en-US" sz="900" kern="0">
              <a:solidFill>
                <a:srgbClr val="585858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&amp; trial JYSELECA in a patient who would benefit from a new mode of action and reassured by the mucosal healing &amp; histologic remission achiev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a wider pool of patients who are not adequately controlled &amp; use JYSELECA to achieve mucosal healing &amp; long-term resul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xpand usage of JYSELECA as oral, that does not need steroid and provides the depth of sustained remission that they are looking for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>
                <a:solidFill>
                  <a:srgbClr val="00463E"/>
                </a:solidFill>
                <a:latin typeface="+mj-lt"/>
              </a:rPr>
            </a:br>
            <a:r>
              <a:rPr lang="en-US" sz="90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>
                <a:solidFill>
                  <a:srgbClr val="00463E"/>
                </a:solidFill>
              </a:rPr>
              <a:t>Identify</a:t>
            </a:r>
            <a:r>
              <a:rPr lang="en-GB" sz="800" b="1">
                <a:solidFill>
                  <a:srgbClr val="00463E"/>
                </a:solidFill>
              </a:rPr>
              <a:t>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7169387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tx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34448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239616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vv</a:t>
            </a:r>
            <a:endParaRPr lang="en-US" sz="80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Arial" charset="0"/>
              <a:cs typeface="Arial" charset="0"/>
            </a:endParaRP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>
                <a:solidFill>
                  <a:srgbClr val="00463E"/>
                </a:solidFill>
              </a:rPr>
              <a:t>Identify</a:t>
            </a:r>
            <a:r>
              <a:rPr lang="en-GB" sz="800" b="1">
                <a:solidFill>
                  <a:srgbClr val="00463E"/>
                </a:solidFill>
              </a:rPr>
              <a:t>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eDA efficac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1 RTE 1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1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– SF 1 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KOL SELECTION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eDA - MoA/safet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2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 SF 2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2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G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 eDA - convenience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Patient brochur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 SF 3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Real life patient cas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88245504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QoL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ange behaviour from current limited 1</a:t>
            </a:r>
            <a:r>
              <a:rPr lang="en-US" sz="900" kern="0" baseline="300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line JAK inhibitor use to JYSELECA as their advanced treatment of choice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72844" y="2933143"/>
            <a:ext cx="10679429" cy="649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Use of steroid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Convenience as one driver for treatment choic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s with some therap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80391" y="3629929"/>
            <a:ext cx="1923188" cy="24261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463E"/>
                </a:solidFill>
                <a:latin typeface="+mj-lt"/>
                <a:cs typeface="Arial" charset="0"/>
              </a:rPr>
              <a:t>Identify &amp; trial JYSELECA to achieve rapid control &amp; symptom relief for a patient who is struggling with their symptoms &amp; burden of treat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k all patients (naïve/ exp) whether they would prefer an oral treatment providing rapid efficacy &amp; the safety profile that the patient nee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oose JYSELECA </a:t>
            </a:r>
            <a:b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as standard of care oral after first biologic failure as the most simple &amp; convenient solution for their pati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>
                <a:solidFill>
                  <a:srgbClr val="00463E"/>
                </a:solidFill>
                <a:latin typeface="+mj-lt"/>
              </a:rPr>
            </a:br>
            <a:r>
              <a:rPr lang="en-US" sz="90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3862" y="5954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3652068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>
                <a:solidFill>
                  <a:srgbClr val="00463E"/>
                </a:solidFill>
              </a:rPr>
              <a:t>Focus on rapid symptom relief, </a:t>
            </a:r>
            <a:br>
              <a:rPr lang="en-GB" sz="800">
                <a:solidFill>
                  <a:srgbClr val="00463E"/>
                </a:solidFill>
              </a:rPr>
            </a:br>
            <a:r>
              <a:rPr lang="en-GB" sz="800">
                <a:solidFill>
                  <a:srgbClr val="00463E"/>
                </a:solidFill>
              </a:rPr>
              <a:t>sustained efficacy and QoL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3653896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68165" y="3659967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  <a:endParaRPr lang="en-US" sz="80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the simple solution for you and your patient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3661496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Identify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803357" y="84014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D6669CD-718A-4546-A19B-4E27A6BB17D8}"/>
              </a:ext>
            </a:extLst>
          </p:cNvPr>
          <p:cNvSpPr/>
          <p:nvPr/>
        </p:nvSpPr>
        <p:spPr bwMode="auto">
          <a:xfrm>
            <a:off x="1395968" y="6086523"/>
            <a:ext cx="1932115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6086523"/>
            <a:ext cx="192593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6086523"/>
            <a:ext cx="1879442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6086523"/>
            <a:ext cx="189178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4180AA2-2857-4E01-B4B1-F57930F6CCD7}"/>
              </a:ext>
            </a:extLst>
          </p:cNvPr>
          <p:cNvSpPr/>
          <p:nvPr/>
        </p:nvSpPr>
        <p:spPr bwMode="auto">
          <a:xfrm>
            <a:off x="10232796" y="6086523"/>
            <a:ext cx="1850151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8021545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3801847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QoL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82372" y="213563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285460" y="4528860"/>
            <a:ext cx="2685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2130354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>
                <a:solidFill>
                  <a:srgbClr val="00463E"/>
                </a:solidFill>
              </a:rPr>
              <a:t>Focus on rapid symptom relief, </a:t>
            </a:r>
            <a:br>
              <a:rPr lang="en-GB" sz="800">
                <a:solidFill>
                  <a:srgbClr val="00463E"/>
                </a:solidFill>
              </a:rPr>
            </a:br>
            <a:r>
              <a:rPr lang="en-GB" sz="800">
                <a:solidFill>
                  <a:srgbClr val="00463E"/>
                </a:solidFill>
              </a:rPr>
              <a:t>sustained efficacy and QoL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2132182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2128485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  <a:endParaRPr lang="en-US" sz="80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the simple solution for you and your patient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2139782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Identify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803357" y="84014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4564808"/>
            <a:ext cx="192593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- eDA efficac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- PF 1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1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1 journal ad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4564808"/>
            <a:ext cx="1879442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- eDA convenience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- P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2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atient brochure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4564808"/>
            <a:ext cx="189178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– eDA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– PF 3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– PF 3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– P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–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OA video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MM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>
              <a:solidFill>
                <a:srgbClr val="00463E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>
              <a:solidFill>
                <a:srgbClr val="0046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872388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924747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.</a:t>
            </a:r>
            <a:endParaRPr lang="en-GB" sz="1100" kern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MoAs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MoAs are worth considering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527268" y="115496"/>
            <a:ext cx="937289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5146EE-94BC-47A5-BA02-91C5512998CE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8E03C21-01E5-4530-A5F1-548AFB23357D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800167D-90A5-4545-835C-9AABEC85C0AF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C2F86C-BAE1-405C-A2E0-ADB8FCA96A3D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8F91DA-26F7-493F-86FA-55F6D67C4258}"/>
              </a:ext>
            </a:extLst>
          </p:cNvPr>
          <p:cNvSpPr/>
          <p:nvPr/>
        </p:nvSpPr>
        <p:spPr bwMode="auto">
          <a:xfrm>
            <a:off x="1360507" y="2078752"/>
            <a:ext cx="1932115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hange current </a:t>
            </a:r>
            <a:r>
              <a:rPr lang="en-US" sz="900" kern="0" err="1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ehaviour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from a cautious step-up approach with very rare use of JAKs to a more flexible top-down approach with JYSELECA after 1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t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biologic fail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0DD4D18-F611-4F82-91F3-E324EF9E2C37}"/>
              </a:ext>
            </a:extLst>
          </p:cNvPr>
          <p:cNvSpPr/>
          <p:nvPr/>
        </p:nvSpPr>
        <p:spPr bwMode="auto">
          <a:xfrm>
            <a:off x="1372844" y="2969089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tisfied with current therapie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Anti-TNFs effective &amp; saf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fety concern about Jak Cla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78A705-D2BD-43BB-AB88-CB693A35DF87}"/>
              </a:ext>
            </a:extLst>
          </p:cNvPr>
          <p:cNvSpPr/>
          <p:nvPr/>
        </p:nvSpPr>
        <p:spPr bwMode="auto">
          <a:xfrm>
            <a:off x="1389777" y="3638218"/>
            <a:ext cx="2032814" cy="244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463E"/>
              </a:solidFill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Detailed in 2,3,4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36FD7-F6A4-423B-A455-D4AFA904C5DF}"/>
              </a:ext>
            </a:extLst>
          </p:cNvPr>
          <p:cNvSpPr/>
          <p:nvPr/>
        </p:nvSpPr>
        <p:spPr bwMode="auto">
          <a:xfrm>
            <a:off x="3573437" y="2078752"/>
            <a:ext cx="188561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en to discuss JYSELECA as a safe &amp; simple option in their treatment paradig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14D897-4E28-44DB-B2BC-651B5989D9C7}"/>
              </a:ext>
            </a:extLst>
          </p:cNvPr>
          <p:cNvSpPr/>
          <p:nvPr/>
        </p:nvSpPr>
        <p:spPr bwMode="auto">
          <a:xfrm>
            <a:off x="5781404" y="2094427"/>
            <a:ext cx="187944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al JYSELECA in a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line treatment based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 peer-feedback reassuring on the safety profile – develop a case study on this patien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3AC7511-D7E5-436F-A9AA-CA8EA8D5A0AE}"/>
              </a:ext>
            </a:extLst>
          </p:cNvPr>
          <p:cNvSpPr/>
          <p:nvPr/>
        </p:nvSpPr>
        <p:spPr bwMode="auto">
          <a:xfrm>
            <a:off x="7983201" y="2094427"/>
            <a:ext cx="1891780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and use of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YSELECA in 3rd line – tried and tested based on their own experien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F9B15A-B623-4166-9408-29CF24F92AB8}"/>
              </a:ext>
            </a:extLst>
          </p:cNvPr>
          <p:cNvSpPr/>
          <p:nvPr/>
        </p:nvSpPr>
        <p:spPr bwMode="auto">
          <a:xfrm>
            <a:off x="10197335" y="2078752"/>
            <a:ext cx="1850151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art to use JYSELECA as the first option after 1st biologic failure based on the positive feedback they have received from their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33862" y="608652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98283" y="3619766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Benefits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860386" y="3638217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llow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8008046" y="3638217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Convenience Messaging Objective: </a:t>
            </a:r>
            <a:r>
              <a:rPr lang="en-US" sz="80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222180" y="3649514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CEFD19-A6CF-4CC3-AE26-C15DCA24EBEF}"/>
              </a:ext>
            </a:extLst>
          </p:cNvPr>
          <p:cNvSpPr/>
          <p:nvPr/>
        </p:nvSpPr>
        <p:spPr bwMode="auto">
          <a:xfrm>
            <a:off x="1489962" y="6182260"/>
            <a:ext cx="1932115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822332" y="618226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8024129" y="6182260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C01CC87-EF6F-4704-9BC9-8168F3BA514D}"/>
              </a:ext>
            </a:extLst>
          </p:cNvPr>
          <p:cNvSpPr/>
          <p:nvPr/>
        </p:nvSpPr>
        <p:spPr bwMode="auto">
          <a:xfrm>
            <a:off x="10238263" y="6182260"/>
            <a:ext cx="1850151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602526" y="619088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4220654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</a:t>
            </a:r>
            <a:endParaRPr lang="en-GB" sz="1100" kern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MoAs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MoAs are worth considering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527268" y="115496"/>
            <a:ext cx="937289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24548" y="214766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215655" y="4672691"/>
            <a:ext cx="32228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64421" y="2122062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Benefits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782311" y="2144210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llow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7974184" y="2140513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Convenience Messaging Objective: </a:t>
            </a:r>
            <a:r>
              <a:rPr lang="en-US" sz="80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188318" y="2151810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788470" y="4684556"/>
            <a:ext cx="1879442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eDA - safety benefits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 FF 2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cal affairs activiti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Tx/>
              <a:buFont typeface="Arial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7990267" y="4684556"/>
            <a:ext cx="1891780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 - eDA - convenience and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patient brochur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3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3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Conference – Exhibition Booth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cal affairs activiti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568664" y="4693176"/>
            <a:ext cx="1879442" cy="2164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eDA - unmet needs and efficacy/safety benefit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1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1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1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Conference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 - </a:t>
            </a:r>
            <a:r>
              <a:rPr kumimoji="0" lang="en-GB" sz="9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baseline="0">
                <a:solidFill>
                  <a:srgbClr val="000000"/>
                </a:solidFill>
                <a:latin typeface="Tahoma"/>
              </a:rPr>
              <a:t>Medical affairs activities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84552432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F5838-B9EB-45F4-9124-C219FD374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orkshop Roles</a:t>
            </a:r>
          </a:p>
        </p:txBody>
      </p:sp>
      <p:pic>
        <p:nvPicPr>
          <p:cNvPr id="5" name="Graphic 4" descr="Alarm clock outline">
            <a:extLst>
              <a:ext uri="{FF2B5EF4-FFF2-40B4-BE49-F238E27FC236}">
                <a16:creationId xmlns:a16="http://schemas.microsoft.com/office/drawing/2014/main" id="{7F544F4B-59E3-44DF-849A-07506181AA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9756" y="1402802"/>
            <a:ext cx="1619915" cy="16199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9BE5A8-F929-47A1-9AC8-08A8E2FC74E7}"/>
              </a:ext>
            </a:extLst>
          </p:cNvPr>
          <p:cNvSpPr txBox="1"/>
          <p:nvPr/>
        </p:nvSpPr>
        <p:spPr>
          <a:xfrm>
            <a:off x="2209671" y="1731146"/>
            <a:ext cx="523869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We are against the clock!</a:t>
            </a:r>
          </a:p>
          <a:p>
            <a:r>
              <a:rPr lang="en-GB" sz="1600"/>
              <a:t>We only have a short amount of time together, lets be focused on having a super-efficient remote session.</a:t>
            </a: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CBF905-F7CD-4C07-8C3E-879577A87746}"/>
              </a:ext>
            </a:extLst>
          </p:cNvPr>
          <p:cNvSpPr txBox="1"/>
          <p:nvPr/>
        </p:nvSpPr>
        <p:spPr>
          <a:xfrm>
            <a:off x="2254061" y="2731462"/>
            <a:ext cx="4447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>
                <a:solidFill>
                  <a:schemeClr val="accent1"/>
                </a:solidFill>
              </a:rPr>
              <a:t>Time-Keeper</a:t>
            </a:r>
            <a:r>
              <a:rPr lang="en-GB" sz="1400"/>
              <a:t>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6743BF-3DA0-4508-8582-6723B0C440BD}"/>
              </a:ext>
            </a:extLst>
          </p:cNvPr>
          <p:cNvSpPr txBox="1"/>
          <p:nvPr/>
        </p:nvSpPr>
        <p:spPr>
          <a:xfrm>
            <a:off x="2209671" y="3938317"/>
            <a:ext cx="523869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Let’s stay on-topic!</a:t>
            </a:r>
          </a:p>
          <a:p>
            <a:r>
              <a:rPr lang="en-GB" sz="1600"/>
              <a:t>Everyone is very busy, and so keeping ‘on topic’ and always working towards the project outputs will be key.</a:t>
            </a:r>
            <a:endParaRPr lang="en-GB" sz="20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10848D-80A1-4FDA-9DEE-B937BC5E72D2}"/>
              </a:ext>
            </a:extLst>
          </p:cNvPr>
          <p:cNvSpPr txBox="1"/>
          <p:nvPr/>
        </p:nvSpPr>
        <p:spPr>
          <a:xfrm>
            <a:off x="2236305" y="4938633"/>
            <a:ext cx="4447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>
                <a:solidFill>
                  <a:schemeClr val="accent1"/>
                </a:solidFill>
              </a:rPr>
              <a:t>‘Rabbit-Hole’ Monitor</a:t>
            </a:r>
            <a:r>
              <a:rPr lang="en-GB" sz="1400"/>
              <a:t>:</a:t>
            </a:r>
          </a:p>
        </p:txBody>
      </p:sp>
      <p:pic>
        <p:nvPicPr>
          <p:cNvPr id="16" name="Graphic 15" descr="Bullseye outline">
            <a:extLst>
              <a:ext uri="{FF2B5EF4-FFF2-40B4-BE49-F238E27FC236}">
                <a16:creationId xmlns:a16="http://schemas.microsoft.com/office/drawing/2014/main" id="{9B6A22F8-9A60-42EC-8A34-A40D599E21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3388" y="3741564"/>
            <a:ext cx="1472650" cy="147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44172"/>
      </p:ext>
    </p:extLst>
  </p:cSld>
  <p:clrMapOvr>
    <a:masterClrMapping/>
  </p:clrMapOvr>
  <p:transition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Project Overview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163770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A30B41A-AB01-4D8C-832D-58AF0988FD45}"/>
              </a:ext>
            </a:extLst>
          </p:cNvPr>
          <p:cNvSpPr/>
          <p:nvPr/>
        </p:nvSpPr>
        <p:spPr bwMode="auto">
          <a:xfrm>
            <a:off x="3177" y="1809593"/>
            <a:ext cx="5845528" cy="359917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What is the HCP Journeys Project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02B9E-E230-47FB-A6FE-35BE071FA1AB}"/>
              </a:ext>
            </a:extLst>
          </p:cNvPr>
          <p:cNvSpPr txBox="1"/>
          <p:nvPr/>
        </p:nvSpPr>
        <p:spPr>
          <a:xfrm>
            <a:off x="362167" y="2135728"/>
            <a:ext cx="4451373" cy="28623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cross functional team is now making strategy a reality, by creating HCP Journeys that bring together existing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ent, OC channel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arch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into maps to guide the rapid movement of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CPs through stages in the adoption ladder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</p:txBody>
      </p:sp>
      <p:pic>
        <p:nvPicPr>
          <p:cNvPr id="9" name="Graphic 8" descr="Workflow with solid fill">
            <a:extLst>
              <a:ext uri="{FF2B5EF4-FFF2-40B4-BE49-F238E27FC236}">
                <a16:creationId xmlns:a16="http://schemas.microsoft.com/office/drawing/2014/main" id="{360C96CA-E312-495A-80EB-A8561477D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5873" y="1904523"/>
            <a:ext cx="755703" cy="755703"/>
          </a:xfrm>
          <a:prstGeom prst="rect">
            <a:avLst/>
          </a:prstGeom>
        </p:spPr>
      </p:pic>
      <p:pic>
        <p:nvPicPr>
          <p:cNvPr id="12" name="Picture 11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897372D1-E36D-4B6B-8037-53078292ED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50"/>
          <a:stretch/>
        </p:blipFill>
        <p:spPr>
          <a:xfrm>
            <a:off x="6645221" y="2089822"/>
            <a:ext cx="5033211" cy="297138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F5E0DA-1C9E-4046-A957-B64D5958B87D}"/>
              </a:ext>
            </a:extLst>
          </p:cNvPr>
          <p:cNvSpPr txBox="1"/>
          <p:nvPr/>
        </p:nvSpPr>
        <p:spPr>
          <a:xfrm>
            <a:off x="7150999" y="5096102"/>
            <a:ext cx="4159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llustrative example</a:t>
            </a:r>
          </a:p>
        </p:txBody>
      </p:sp>
    </p:spTree>
    <p:extLst>
      <p:ext uri="{BB962C8B-B14F-4D97-AF65-F5344CB8AC3E}">
        <p14:creationId xmlns:p14="http://schemas.microsoft.com/office/powerpoint/2010/main" val="295959006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1" y="1183907"/>
            <a:ext cx="5810250" cy="47311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will you get at the end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9EE307-EA92-4A21-A4AA-B9E6F29E31B7}"/>
              </a:ext>
            </a:extLst>
          </p:cNvPr>
          <p:cNvSpPr txBox="1"/>
          <p:nvPr/>
        </p:nvSpPr>
        <p:spPr>
          <a:xfrm>
            <a:off x="539360" y="1494033"/>
            <a:ext cx="5004189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 clear Customer Journey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r your market, for the IBD indicati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linked to driving HCPs up the initial stages in the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at are linked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both existing and currently in production for launc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with easy access to the materials needed for execution (and view on planned conten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 easy-to-us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omer Journey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rma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to enable dynamic updates throughout the year</a:t>
            </a:r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3768AB0A-9864-4D58-A1CE-FD310767B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216" y="159417"/>
            <a:ext cx="914400" cy="914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55AB4A-F31C-4F89-93BF-3043A3463C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5959" y="1670811"/>
            <a:ext cx="6077326" cy="375731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0859223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1955C2-A5D2-4C4F-971D-86DDC218A6A7}"/>
              </a:ext>
            </a:extLst>
          </p:cNvPr>
          <p:cNvSpPr/>
          <p:nvPr/>
        </p:nvSpPr>
        <p:spPr bwMode="auto">
          <a:xfrm>
            <a:off x="852612" y="1757030"/>
            <a:ext cx="2819444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FC5339-2CBA-49DF-98B1-A5480BAA603B}"/>
              </a:ext>
            </a:extLst>
          </p:cNvPr>
          <p:cNvSpPr/>
          <p:nvPr/>
        </p:nvSpPr>
        <p:spPr bwMode="auto">
          <a:xfrm>
            <a:off x="852612" y="1309523"/>
            <a:ext cx="2819444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everage existing Strategy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D6513A-978A-49C2-A561-5B8FB6A83BB7}"/>
              </a:ext>
            </a:extLst>
          </p:cNvPr>
          <p:cNvSpPr txBox="1"/>
          <p:nvPr/>
        </p:nvSpPr>
        <p:spPr>
          <a:xfrm>
            <a:off x="1088350" y="1810751"/>
            <a:ext cx="23525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 | Segmentation Channels | Content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1D6E9CED-0AB6-4DA2-B29B-07455FB44B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251" r="19948"/>
          <a:stretch/>
        </p:blipFill>
        <p:spPr>
          <a:xfrm>
            <a:off x="1602230" y="5020836"/>
            <a:ext cx="1268046" cy="113744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EA6DA388-F266-48E7-B45D-9D1C9FEFD673}"/>
              </a:ext>
            </a:extLst>
          </p:cNvPr>
          <p:cNvSpPr txBox="1"/>
          <p:nvPr/>
        </p:nvSpPr>
        <p:spPr>
          <a:xfrm>
            <a:off x="1119690" y="1047358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rand /  Strate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56606A-820B-4753-B57B-97556E0097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6806" y="2350923"/>
            <a:ext cx="1060336" cy="86311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5328692C-02E8-4BD6-833B-A0F2EAE1F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626042"/>
          </a:xfrm>
        </p:spPr>
        <p:txBody>
          <a:bodyPr/>
          <a:lstStyle/>
          <a:p>
            <a:r>
              <a:rPr lang="en-US" sz="3200"/>
              <a:t>The Approach is Consistent &amp; Cross-Functional</a:t>
            </a:r>
            <a:endParaRPr lang="en-GB" sz="3200"/>
          </a:p>
        </p:txBody>
      </p:sp>
      <p:pic>
        <p:nvPicPr>
          <p:cNvPr id="36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0908C001-4E75-480F-AD02-463B958C453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8500" y="3644521"/>
            <a:ext cx="500747" cy="4893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2C0DD07D-E4AF-4A1E-9999-2D0DC27C7FC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770" y="3644521"/>
            <a:ext cx="500747" cy="489330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8637EE36-066E-4101-A371-0085B02A7F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2173" y="4119803"/>
            <a:ext cx="500747" cy="48933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7418DA3B-64AE-4617-A655-73F090EB9EBE}"/>
              </a:ext>
            </a:extLst>
          </p:cNvPr>
          <p:cNvSpPr txBox="1"/>
          <p:nvPr/>
        </p:nvSpPr>
        <p:spPr>
          <a:xfrm>
            <a:off x="1397000" y="3329310"/>
            <a:ext cx="1556515" cy="255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 Segment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C5C4B81-13E2-4134-83C3-C3070022ABD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59"/>
          <a:stretch/>
        </p:blipFill>
        <p:spPr>
          <a:xfrm>
            <a:off x="1091763" y="2361782"/>
            <a:ext cx="931800" cy="86311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83CCDBC-52D8-4214-AF43-0DCFD0313806}"/>
              </a:ext>
            </a:extLst>
          </p:cNvPr>
          <p:cNvSpPr/>
          <p:nvPr/>
        </p:nvSpPr>
        <p:spPr bwMode="auto">
          <a:xfrm>
            <a:off x="4311936" y="1754538"/>
            <a:ext cx="2952987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D37493E-1A4C-451E-BC11-DD374C4FB864}"/>
              </a:ext>
            </a:extLst>
          </p:cNvPr>
          <p:cNvSpPr/>
          <p:nvPr/>
        </p:nvSpPr>
        <p:spPr bwMode="auto">
          <a:xfrm>
            <a:off x="4311936" y="1307031"/>
            <a:ext cx="2952987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se it for market clarit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EEDB9B8-2E05-44C6-B5DC-CD0A30A791B3}"/>
              </a:ext>
            </a:extLst>
          </p:cNvPr>
          <p:cNvSpPr txBox="1"/>
          <p:nvPr/>
        </p:nvSpPr>
        <p:spPr>
          <a:xfrm>
            <a:off x="4654036" y="1044866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rand /  Strateg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C99AD5-BC08-4CF7-85FD-BC8D11B0D4E6}"/>
              </a:ext>
            </a:extLst>
          </p:cNvPr>
          <p:cNvSpPr/>
          <p:nvPr/>
        </p:nvSpPr>
        <p:spPr bwMode="auto">
          <a:xfrm>
            <a:off x="7799551" y="1722575"/>
            <a:ext cx="3418350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B8B6674-A76C-44E8-824E-093322DF779E}"/>
              </a:ext>
            </a:extLst>
          </p:cNvPr>
          <p:cNvSpPr/>
          <p:nvPr/>
        </p:nvSpPr>
        <p:spPr bwMode="auto">
          <a:xfrm>
            <a:off x="7799551" y="1275068"/>
            <a:ext cx="3418350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velop the Journeys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69F9B5-525C-4485-A623-EF07F61CFE02}"/>
              </a:ext>
            </a:extLst>
          </p:cNvPr>
          <p:cNvSpPr txBox="1"/>
          <p:nvPr/>
        </p:nvSpPr>
        <p:spPr>
          <a:xfrm>
            <a:off x="8396174" y="1012903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rketing / Medical Ma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E02CF2A6-4866-41BB-872E-DDA32398F40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952" t="1417" r="8806" b="5842"/>
          <a:stretch/>
        </p:blipFill>
        <p:spPr>
          <a:xfrm>
            <a:off x="4438627" y="4803967"/>
            <a:ext cx="2699603" cy="109087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4A6034C4-6E94-42A4-B422-AA9DFD75F686}"/>
              </a:ext>
            </a:extLst>
          </p:cNvPr>
          <p:cNvSpPr txBox="1"/>
          <p:nvPr/>
        </p:nvSpPr>
        <p:spPr>
          <a:xfrm>
            <a:off x="4428532" y="4372465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alignment to segmentation and adoption ladder stag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78FCD2-35BB-416F-A98A-8A907DE387A4}"/>
              </a:ext>
            </a:extLst>
          </p:cNvPr>
          <p:cNvSpPr txBox="1"/>
          <p:nvPr/>
        </p:nvSpPr>
        <p:spPr>
          <a:xfrm>
            <a:off x="4424859" y="2120884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 consolidation &amp; consistent format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EE8DE9-EAEA-4FAB-B904-74DA8E0AD055}"/>
              </a:ext>
            </a:extLst>
          </p:cNvPr>
          <p:cNvSpPr txBox="1"/>
          <p:nvPr/>
        </p:nvSpPr>
        <p:spPr>
          <a:xfrm>
            <a:off x="7943107" y="1811604"/>
            <a:ext cx="3131186" cy="409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execution-focused mapping of the touchpoints with a HCP.</a:t>
            </a: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8B477F0A-763E-4303-90E6-3C488D5C6523}"/>
              </a:ext>
            </a:extLst>
          </p:cNvPr>
          <p:cNvSpPr/>
          <p:nvPr/>
        </p:nvSpPr>
        <p:spPr bwMode="auto">
          <a:xfrm rot="5400000">
            <a:off x="7088273" y="3635422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7DDE100C-F688-441C-B6EE-94F1899884FE}"/>
              </a:ext>
            </a:extLst>
          </p:cNvPr>
          <p:cNvSpPr/>
          <p:nvPr/>
        </p:nvSpPr>
        <p:spPr bwMode="auto">
          <a:xfrm rot="5400000">
            <a:off x="3536237" y="3635422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98" name="Picture 97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9F7997E3-DEE4-4AF6-B070-420E7310C4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492" y="2576872"/>
            <a:ext cx="1814874" cy="1163000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86564B72-8831-4DCC-8875-668A5169EB3E}"/>
              </a:ext>
            </a:extLst>
          </p:cNvPr>
          <p:cNvSpPr txBox="1"/>
          <p:nvPr/>
        </p:nvSpPr>
        <p:spPr>
          <a:xfrm>
            <a:off x="7920272" y="2874631"/>
            <a:ext cx="1318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llustrative Versions</a:t>
            </a:r>
          </a:p>
        </p:txBody>
      </p:sp>
      <p:pic>
        <p:nvPicPr>
          <p:cNvPr id="100" name="Picture 99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2171547-90D9-4B2A-92E0-7F5E11B797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492" y="4661692"/>
            <a:ext cx="1814874" cy="1163000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42D31826-4AF1-47BA-8ED7-CFD3E638377E}"/>
              </a:ext>
            </a:extLst>
          </p:cNvPr>
          <p:cNvSpPr txBox="1"/>
          <p:nvPr/>
        </p:nvSpPr>
        <p:spPr>
          <a:xfrm>
            <a:off x="7920272" y="4988026"/>
            <a:ext cx="1318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ised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xecutable   Versions</a:t>
            </a:r>
          </a:p>
        </p:txBody>
      </p:sp>
      <p:sp>
        <p:nvSpPr>
          <p:cNvPr id="102" name="Isosceles Triangle 101">
            <a:extLst>
              <a:ext uri="{FF2B5EF4-FFF2-40B4-BE49-F238E27FC236}">
                <a16:creationId xmlns:a16="http://schemas.microsoft.com/office/drawing/2014/main" id="{74CE396A-0019-417B-A039-337D8139B556}"/>
              </a:ext>
            </a:extLst>
          </p:cNvPr>
          <p:cNvSpPr/>
          <p:nvPr/>
        </p:nvSpPr>
        <p:spPr bwMode="auto">
          <a:xfrm rot="10800000">
            <a:off x="9761141" y="4060208"/>
            <a:ext cx="950471" cy="31225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466A28-35AD-4841-985A-8BC24638A2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38627" y="2622617"/>
            <a:ext cx="2708779" cy="151123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C7820F-84AF-4A0E-9BDC-8CB6187A82E7}"/>
              </a:ext>
            </a:extLst>
          </p:cNvPr>
          <p:cNvSpPr txBox="1"/>
          <p:nvPr/>
        </p:nvSpPr>
        <p:spPr>
          <a:xfrm>
            <a:off x="8358074" y="6247675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progres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BB0A4C3-E263-470C-BCB7-B5D5D123E82E}"/>
              </a:ext>
            </a:extLst>
          </p:cNvPr>
          <p:cNvSpPr txBox="1"/>
          <p:nvPr/>
        </p:nvSpPr>
        <p:spPr>
          <a:xfrm>
            <a:off x="4576834" y="6278478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progres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3415292-79C3-478A-9E18-A0102B83B270}"/>
              </a:ext>
            </a:extLst>
          </p:cNvPr>
          <p:cNvSpPr txBox="1"/>
          <p:nvPr/>
        </p:nvSpPr>
        <p:spPr>
          <a:xfrm>
            <a:off x="1053307" y="6278478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lete</a:t>
            </a:r>
          </a:p>
        </p:txBody>
      </p:sp>
      <p:sp>
        <p:nvSpPr>
          <p:cNvPr id="105" name="Isosceles Triangle 104">
            <a:extLst>
              <a:ext uri="{FF2B5EF4-FFF2-40B4-BE49-F238E27FC236}">
                <a16:creationId xmlns:a16="http://schemas.microsoft.com/office/drawing/2014/main" id="{6F12A022-7778-428F-A9ED-F5FA33B7DFD6}"/>
              </a:ext>
            </a:extLst>
          </p:cNvPr>
          <p:cNvSpPr/>
          <p:nvPr/>
        </p:nvSpPr>
        <p:spPr bwMode="auto">
          <a:xfrm rot="10800000">
            <a:off x="8276042" y="4072015"/>
            <a:ext cx="950471" cy="31225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396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43" grpId="0"/>
      <p:bldP spid="51" grpId="0"/>
      <p:bldP spid="42" grpId="0" animBg="1"/>
      <p:bldP spid="46" grpId="0" animBg="1"/>
      <p:bldP spid="62" grpId="0"/>
      <p:bldP spid="70" grpId="0" animBg="1"/>
      <p:bldP spid="71" grpId="0" animBg="1"/>
      <p:bldP spid="78" grpId="0"/>
      <p:bldP spid="9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AE20B3-C9DF-464A-811A-8E3F8E4A770A}"/>
              </a:ext>
            </a:extLst>
          </p:cNvPr>
          <p:cNvCxnSpPr/>
          <p:nvPr/>
        </p:nvCxnSpPr>
        <p:spPr bwMode="auto">
          <a:xfrm>
            <a:off x="6748991" y="2193364"/>
            <a:ext cx="0" cy="371480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248721"/>
            <a:ext cx="10810627" cy="623862"/>
          </a:xfrm>
        </p:spPr>
        <p:txBody>
          <a:bodyPr/>
          <a:lstStyle/>
          <a:p>
            <a:r>
              <a:rPr lang="en-GB"/>
              <a:t>How we are making this a reality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/>
        </p:nvGraphicFramePr>
        <p:xfrm>
          <a:off x="650837" y="1542265"/>
          <a:ext cx="10730940" cy="4572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715396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6628705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0889280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04167885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2174763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Jun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nd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6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rd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0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57" name="Pentagon 26">
            <a:extLst>
              <a:ext uri="{FF2B5EF4-FFF2-40B4-BE49-F238E27FC236}">
                <a16:creationId xmlns:a16="http://schemas.microsoft.com/office/drawing/2014/main" id="{3117B1F0-B39E-425C-B8EF-B0F7297A9DCA}"/>
              </a:ext>
            </a:extLst>
          </p:cNvPr>
          <p:cNvSpPr/>
          <p:nvPr/>
        </p:nvSpPr>
        <p:spPr bwMode="auto">
          <a:xfrm>
            <a:off x="650835" y="2106269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 existing 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consolidated, granular Adoption Ladder, to bring clarity to the brand strategy, research and segment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C47DF2A-2C1F-43B2-82BD-A6EF83EC0B84}"/>
              </a:ext>
            </a:extLst>
          </p:cNvPr>
          <p:cNvSpPr/>
          <p:nvPr/>
        </p:nvSpPr>
        <p:spPr bwMode="auto">
          <a:xfrm>
            <a:off x="631257" y="2857291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rand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IBD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93C9C4B-CB20-4E1B-9BA2-9792C47751D3}"/>
              </a:ext>
            </a:extLst>
          </p:cNvPr>
          <p:cNvSpPr/>
          <p:nvPr/>
        </p:nvSpPr>
        <p:spPr bwMode="auto">
          <a:xfrm>
            <a:off x="631257" y="3347488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I&amp;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OC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3592990-F76B-4926-B9A1-2BE9A115DABE}"/>
              </a:ext>
            </a:extLst>
          </p:cNvPr>
          <p:cNvSpPr/>
          <p:nvPr/>
        </p:nvSpPr>
        <p:spPr bwMode="auto">
          <a:xfrm>
            <a:off x="631257" y="3837685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I&amp;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SFE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138F82C-599D-487F-B7C2-2F6FFFB8299E}"/>
              </a:ext>
            </a:extLst>
          </p:cNvPr>
          <p:cNvSpPr/>
          <p:nvPr/>
        </p:nvSpPr>
        <p:spPr bwMode="auto">
          <a:xfrm>
            <a:off x="631257" y="4327882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amp; Technolog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0763684-CA5F-4EE7-9259-780FBA6B93C4}"/>
              </a:ext>
            </a:extLst>
          </p:cNvPr>
          <p:cNvSpPr/>
          <p:nvPr/>
        </p:nvSpPr>
        <p:spPr bwMode="auto">
          <a:xfrm>
            <a:off x="631257" y="4818079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arket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earc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DE3F776-52DC-4833-8B0D-47EE42C72D18}"/>
              </a:ext>
            </a:extLst>
          </p:cNvPr>
          <p:cNvSpPr/>
          <p:nvPr/>
        </p:nvSpPr>
        <p:spPr bwMode="auto">
          <a:xfrm>
            <a:off x="631257" y="5308278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genci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25C585F-989C-476E-AA0C-A126143A3906}"/>
              </a:ext>
            </a:extLst>
          </p:cNvPr>
          <p:cNvCxnSpPr/>
          <p:nvPr/>
        </p:nvCxnSpPr>
        <p:spPr bwMode="auto">
          <a:xfrm>
            <a:off x="11381777" y="1685925"/>
            <a:ext cx="56257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9" name="Pentagon 26">
            <a:extLst>
              <a:ext uri="{FF2B5EF4-FFF2-40B4-BE49-F238E27FC236}">
                <a16:creationId xmlns:a16="http://schemas.microsoft.com/office/drawing/2014/main" id="{05CD5005-78E0-4877-8143-E8ED626111D1}"/>
              </a:ext>
            </a:extLst>
          </p:cNvPr>
          <p:cNvSpPr/>
          <p:nvPr/>
        </p:nvSpPr>
        <p:spPr bwMode="auto">
          <a:xfrm>
            <a:off x="3629025" y="2106268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Journey Cre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a set of scenario-driven customer journeys, to act as the template for localisation</a:t>
            </a:r>
          </a:p>
        </p:txBody>
      </p:sp>
      <p:sp>
        <p:nvSpPr>
          <p:cNvPr id="70" name="Pentagon 26">
            <a:extLst>
              <a:ext uri="{FF2B5EF4-FFF2-40B4-BE49-F238E27FC236}">
                <a16:creationId xmlns:a16="http://schemas.microsoft.com/office/drawing/2014/main" id="{A549076C-1E13-4349-80A0-09241B6C421A}"/>
              </a:ext>
            </a:extLst>
          </p:cNvPr>
          <p:cNvSpPr/>
          <p:nvPr/>
        </p:nvSpPr>
        <p:spPr bwMode="auto">
          <a:xfrm>
            <a:off x="6607215" y="2097987"/>
            <a:ext cx="4774562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 Local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upported localisation of international Journeys</a:t>
            </a:r>
          </a:p>
        </p:txBody>
      </p:sp>
      <p:pic>
        <p:nvPicPr>
          <p:cNvPr id="71" name="Picture 70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D7C30638-0883-4CEF-9B55-271240B087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544" y="2887768"/>
            <a:ext cx="1814874" cy="1163000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E07EB882-410D-4136-8EE4-F7157DEC7D57}"/>
              </a:ext>
            </a:extLst>
          </p:cNvPr>
          <p:cNvSpPr/>
          <p:nvPr/>
        </p:nvSpPr>
        <p:spPr bwMode="auto">
          <a:xfrm>
            <a:off x="6748991" y="2952821"/>
            <a:ext cx="2628900" cy="4954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ermany (RA &amp; IBD)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A5D08A5-C099-43A3-8302-F05E47C24F7A}"/>
              </a:ext>
            </a:extLst>
          </p:cNvPr>
          <p:cNvSpPr/>
          <p:nvPr/>
        </p:nvSpPr>
        <p:spPr bwMode="auto">
          <a:xfrm>
            <a:off x="6728036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F0885228-9022-45AF-AA68-819D95E5C891}"/>
              </a:ext>
            </a:extLst>
          </p:cNvPr>
          <p:cNvSpPr/>
          <p:nvPr/>
        </p:nvSpPr>
        <p:spPr bwMode="auto">
          <a:xfrm>
            <a:off x="8047610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3FA8051B-14DD-4895-B5F6-08B9FDF6FE2C}"/>
              </a:ext>
            </a:extLst>
          </p:cNvPr>
          <p:cNvSpPr/>
          <p:nvPr/>
        </p:nvSpPr>
        <p:spPr bwMode="auto">
          <a:xfrm>
            <a:off x="9215972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63696CC7-8546-4DA3-AACC-FBF75A9B43B2}"/>
              </a:ext>
            </a:extLst>
          </p:cNvPr>
          <p:cNvSpPr/>
          <p:nvPr/>
        </p:nvSpPr>
        <p:spPr bwMode="auto">
          <a:xfrm>
            <a:off x="6865911" y="5668586"/>
            <a:ext cx="220898" cy="220898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1B3E4-4575-4C5E-BD2C-D4480C4A352C}"/>
              </a:ext>
            </a:extLst>
          </p:cNvPr>
          <p:cNvSpPr txBox="1"/>
          <p:nvPr/>
        </p:nvSpPr>
        <p:spPr>
          <a:xfrm>
            <a:off x="7149041" y="5544356"/>
            <a:ext cx="455295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 x 2hr, cross functional market workshop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ith markets supported in the interim for the time-intensive activitie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Arrow: Right 85">
            <a:extLst>
              <a:ext uri="{FF2B5EF4-FFF2-40B4-BE49-F238E27FC236}">
                <a16:creationId xmlns:a16="http://schemas.microsoft.com/office/drawing/2014/main" id="{0BAFD098-78AD-486D-8F9A-BFDCAA35B1F7}"/>
              </a:ext>
            </a:extLst>
          </p:cNvPr>
          <p:cNvSpPr/>
          <p:nvPr/>
        </p:nvSpPr>
        <p:spPr bwMode="auto">
          <a:xfrm>
            <a:off x="9778999" y="3335640"/>
            <a:ext cx="1964268" cy="852005"/>
          </a:xfrm>
          <a:prstGeom prst="rightArrow">
            <a:avLst>
              <a:gd name="adj1" fmla="val 50000"/>
              <a:gd name="adj2" fmla="val 40063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K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orkshops to occur-  Sept’21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A92260F-7E59-4811-A5AA-B3D16C02F322}"/>
              </a:ext>
            </a:extLst>
          </p:cNvPr>
          <p:cNvSpPr/>
          <p:nvPr/>
        </p:nvSpPr>
        <p:spPr bwMode="auto">
          <a:xfrm>
            <a:off x="7535507" y="4319305"/>
            <a:ext cx="2997026" cy="810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maller Markets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horter engagements with lighter localisation, leveraging both international and larger market Journeys.  Workshop dates TBD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A0CDF946-4381-4D38-A035-501A4270AE1A}"/>
              </a:ext>
            </a:extLst>
          </p:cNvPr>
          <p:cNvSpPr/>
          <p:nvPr/>
        </p:nvSpPr>
        <p:spPr bwMode="auto">
          <a:xfrm>
            <a:off x="8308084" y="5037084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CA211E2-3AF9-44AB-B220-3900C0F4D42E}"/>
              </a:ext>
            </a:extLst>
          </p:cNvPr>
          <p:cNvSpPr/>
          <p:nvPr/>
        </p:nvSpPr>
        <p:spPr bwMode="auto">
          <a:xfrm>
            <a:off x="9627658" y="5037084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99243F-756A-401B-A0FA-4FBF8DA83233}"/>
              </a:ext>
            </a:extLst>
          </p:cNvPr>
          <p:cNvSpPr txBox="1"/>
          <p:nvPr/>
        </p:nvSpPr>
        <p:spPr>
          <a:xfrm>
            <a:off x="3657605" y="4081280"/>
            <a:ext cx="24383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Journeys currentl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development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FB328-C12D-4A15-8816-5D35FE30BF7C}"/>
              </a:ext>
            </a:extLst>
          </p:cNvPr>
          <p:cNvSpPr txBox="1"/>
          <p:nvPr/>
        </p:nvSpPr>
        <p:spPr>
          <a:xfrm>
            <a:off x="827550" y="781539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reduce market workloads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to maximise outputs, we are working via a localisation model, with heavy support to markets between engagements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3F8A385-1642-4962-88C2-D8112DD4267E}"/>
              </a:ext>
            </a:extLst>
          </p:cNvPr>
          <p:cNvSpPr/>
          <p:nvPr/>
        </p:nvSpPr>
        <p:spPr bwMode="auto">
          <a:xfrm>
            <a:off x="11552275" y="3872382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B9BA97-C8BB-416F-92B9-3B6ABE14B419}"/>
              </a:ext>
            </a:extLst>
          </p:cNvPr>
          <p:cNvSpPr txBox="1"/>
          <p:nvPr/>
        </p:nvSpPr>
        <p:spPr>
          <a:xfrm>
            <a:off x="6456421" y="5974856"/>
            <a:ext cx="8323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/>
              <a:t>Today</a:t>
            </a:r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2497064491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E5AB20-6488-4FAA-941C-70BC2676117F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3F8481-F5CC-4F0B-B080-165B0BBC4E8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A92CDE-C05E-4821-B7F7-14F934A96C87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7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Office Theme</vt:lpstr>
      <vt:lpstr>2_Galapagos_template_Basic</vt:lpstr>
      <vt:lpstr>PowerPoint Presentation</vt:lpstr>
      <vt:lpstr>PowerPoint Presentation</vt:lpstr>
      <vt:lpstr>HCP Journey Workshop Agenda - IBD</vt:lpstr>
      <vt:lpstr>Workshop Roles</vt:lpstr>
      <vt:lpstr>PowerPoint Presentation</vt:lpstr>
      <vt:lpstr>What is the HCP Journeys Project?</vt:lpstr>
      <vt:lpstr>What will you get at the end?</vt:lpstr>
      <vt:lpstr>The Approach is Consistent &amp; Cross-Functional</vt:lpstr>
      <vt:lpstr>How we are making this a reality</vt:lpstr>
      <vt:lpstr>PowerPoint Presentation</vt:lpstr>
      <vt:lpstr>PowerPoint Presentation</vt:lpstr>
      <vt:lpstr>HCP Journey Components</vt:lpstr>
      <vt:lpstr>HCP Journey Scenarios</vt:lpstr>
      <vt:lpstr>As part of HCP Journeys, we need to ensure that we are incorporating the core local elements</vt:lpstr>
      <vt:lpstr>Decision</vt:lpstr>
      <vt:lpstr>Decision</vt:lpstr>
      <vt:lpstr>PowerPoint Presentation</vt:lpstr>
      <vt:lpstr>PowerPoint Presentation</vt:lpstr>
      <vt:lpstr>PowerPoint Presentation</vt:lpstr>
      <vt:lpstr>Custellence</vt:lpstr>
      <vt:lpstr>The Tool – Live Demo</vt:lpstr>
      <vt:lpstr>PowerPoint Presentation</vt:lpstr>
      <vt:lpstr>PowerPoint Presentation</vt:lpstr>
      <vt:lpstr>PowerPoint Presentation</vt:lpstr>
      <vt:lpstr>PowerPoint Presentation</vt:lpstr>
      <vt:lpstr>Following Today’s Session</vt:lpstr>
      <vt:lpstr>PowerPoint Presentation</vt:lpstr>
      <vt:lpstr>Pre-Launch Behaviour Change Scale</vt:lpstr>
      <vt:lpstr>PowerPoint Presentation</vt:lpstr>
      <vt:lpstr>PowerPoint Presentation</vt:lpstr>
      <vt:lpstr>Post-Launch Adoption Ladd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Richwood</dc:creator>
  <cp:revision>1</cp:revision>
  <dcterms:created xsi:type="dcterms:W3CDTF">2021-05-11T10:48:05Z</dcterms:created>
  <dcterms:modified xsi:type="dcterms:W3CDTF">2021-05-11T17:1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